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5.xml" ContentType="application/vnd.openxmlformats-officedocument.presentationml.tags+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3.xml" ContentType="application/vnd.openxmlformats-officedocument.presentationml.notesSlide+xml"/>
  <Override PartName="/ppt/tags/tag52.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6"/>
    <p:sldMasterId id="2147483693" r:id="rId7"/>
  </p:sldMasterIdLst>
  <p:notesMasterIdLst>
    <p:notesMasterId r:id="rId32"/>
  </p:notesMasterIdLst>
  <p:handoutMasterIdLst>
    <p:handoutMasterId r:id="rId33"/>
  </p:handoutMasterIdLst>
  <p:sldIdLst>
    <p:sldId id="256" r:id="rId8"/>
    <p:sldId id="257" r:id="rId9"/>
    <p:sldId id="354" r:id="rId10"/>
    <p:sldId id="292" r:id="rId11"/>
    <p:sldId id="332" r:id="rId12"/>
    <p:sldId id="328" r:id="rId13"/>
    <p:sldId id="327" r:id="rId14"/>
    <p:sldId id="350" r:id="rId15"/>
    <p:sldId id="334" r:id="rId16"/>
    <p:sldId id="313" r:id="rId17"/>
    <p:sldId id="339" r:id="rId18"/>
    <p:sldId id="337" r:id="rId19"/>
    <p:sldId id="336" r:id="rId20"/>
    <p:sldId id="266" r:id="rId21"/>
    <p:sldId id="267" r:id="rId22"/>
    <p:sldId id="315" r:id="rId23"/>
    <p:sldId id="316" r:id="rId24"/>
    <p:sldId id="341" r:id="rId25"/>
    <p:sldId id="342" r:id="rId26"/>
    <p:sldId id="340" r:id="rId27"/>
    <p:sldId id="275" r:id="rId28"/>
    <p:sldId id="276" r:id="rId29"/>
    <p:sldId id="290" r:id="rId30"/>
    <p:sldId id="291" r:id="rId31"/>
  </p:sldIdLst>
  <p:sldSz cx="12192000" cy="6858000"/>
  <p:notesSz cx="6858000" cy="9144000"/>
  <p:custDataLst>
    <p:tags r:id="rId34"/>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255A3AB-A43B-4FB9-AAB5-3F0F215CF2F6}">
          <p14:sldIdLst>
            <p14:sldId id="256"/>
            <p14:sldId id="257"/>
          </p14:sldIdLst>
        </p14:section>
        <p14:section name="Parameter attribute" id="{7B5054B6-A008-45F3-B652-1081E59E62B6}">
          <p14:sldIdLst>
            <p14:sldId id="354"/>
            <p14:sldId id="292"/>
            <p14:sldId id="332"/>
            <p14:sldId id="328"/>
            <p14:sldId id="327"/>
            <p14:sldId id="350"/>
            <p14:sldId id="334"/>
            <p14:sldId id="313"/>
            <p14:sldId id="339"/>
            <p14:sldId id="337"/>
            <p14:sldId id="336"/>
            <p14:sldId id="266"/>
            <p14:sldId id="267"/>
          </p14:sldIdLst>
        </p14:section>
        <p14:section name="Parameter validation" id="{D9F216FE-A770-4526-ADC3-CDB4CA8ACA0B}">
          <p14:sldIdLst>
            <p14:sldId id="315"/>
            <p14:sldId id="316"/>
            <p14:sldId id="341"/>
            <p14:sldId id="342"/>
            <p14:sldId id="340"/>
            <p14:sldId id="275"/>
            <p14:sldId id="276"/>
          </p14:sldIdLst>
        </p14:section>
        <p14:section name="Lab" id="{6F8CB3A6-B6AF-4CAF-B261-75B2450A9880}">
          <p14:sldIdLst>
            <p14:sldId id="29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BD7E4F-8142-13A4-5C07-CEF6D3C8332B}" name="Kory Thacher" initials="KT" userId="Kory Thacher" providerId="None"/>
  <p188:author id="{EFA001BD-6AC6-2322-D8A5-A7C0E75B8FAB}" name="Kory Thacher (APPS / POWERSHELL)" initials="KT(/P" userId="Kory Thacher (APPS / POWERSHELL)" providerId="None"/>
  <p188:author id="{0D3428EF-EBBF-0D99-A3B9-5DDB4A16D187}" name="Tony Radkiewicz" initials="TR" userId="S::anradkie@microsoft.com::9832534a-7e4f-4058-9c41-7f4a5b855c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lastIdx="21" clrIdx="7">
    <p:extLst>
      <p:ext uri="{19B8F6BF-5375-455C-9EA6-DF929625EA0E}">
        <p15:presenceInfo xmlns:p15="http://schemas.microsoft.com/office/powerpoint/2012/main" userId="Kory Thacher" providerId="None"/>
      </p:ext>
    </p:extLst>
  </p:cmAuthor>
  <p:cmAuthor id="1" name="Mary Feil-Jacobs" initials="MFJ" lastIdx="43" clrIdx="1"/>
  <p:cmAuthor id="8" name="Bobby Reed" initials="BR" lastIdx="1" clrIdx="8">
    <p:extLst>
      <p:ext uri="{19B8F6BF-5375-455C-9EA6-DF929625EA0E}">
        <p15:presenceInfo xmlns:p15="http://schemas.microsoft.com/office/powerpoint/2012/main" userId="S-1-5-21-124525095-708259637-1543119021-128280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2]" lastIdx="3" clrIdx="9">
    <p:extLst>
      <p:ext uri="{19B8F6BF-5375-455C-9EA6-DF929625EA0E}">
        <p15:presenceInfo xmlns:p15="http://schemas.microsoft.com/office/powerpoint/2012/main" userId="S::korythac@microsoft.com::995eb0f2-f21c-467c-a947-4f8fc26d0f2e"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Daniele De Angelis" initials="DDA" lastIdx="10" clrIdx="10">
    <p:extLst>
      <p:ext uri="{19B8F6BF-5375-455C-9EA6-DF929625EA0E}">
        <p15:presenceInfo xmlns:p15="http://schemas.microsoft.com/office/powerpoint/2012/main" userId="S-1-12-1-2452767479-1291761134-4129584829-612651018"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Martijn van Geffen" initials="MvG" lastIdx="11" clrIdx="5">
    <p:extLst>
      <p:ext uri="{19B8F6BF-5375-455C-9EA6-DF929625EA0E}">
        <p15:presenceInfo xmlns:p15="http://schemas.microsoft.com/office/powerpoint/2012/main" userId="S::mavangef@microsoft.com::0d8ea57d-840a-4839-b208-007caa94e8f4" providerId="AD"/>
      </p:ext>
    </p:extLst>
  </p:cmAuthor>
  <p:cmAuthor id="6" name="Ivan Mirchev" initials="IM" lastIdx="4" clrIdx="6">
    <p:extLst>
      <p:ext uri="{19B8F6BF-5375-455C-9EA6-DF929625EA0E}">
        <p15:presenceInfo xmlns:p15="http://schemas.microsoft.com/office/powerpoint/2012/main" userId="S-1-5-21-1721254763-462695806-1538882281-38200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50E6FF"/>
    <a:srgbClr val="41276C"/>
    <a:srgbClr val="5C005C"/>
    <a:srgbClr val="054B16"/>
    <a:srgbClr val="943232"/>
    <a:srgbClr val="9A009A"/>
    <a:srgbClr val="00317B"/>
    <a:srgbClr val="40BFDD"/>
    <a:srgbClr val="D7D7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770" autoAdjust="0"/>
  </p:normalViewPr>
  <p:slideViewPr>
    <p:cSldViewPr snapToGrid="0">
      <p:cViewPr varScale="1">
        <p:scale>
          <a:sx n="76" d="100"/>
          <a:sy n="76" d="100"/>
        </p:scale>
        <p:origin x="51" y="51"/>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tags" Target="tags/tag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jn van Geffen" userId="0d8ea57d-840a-4839-b208-007caa94e8f4" providerId="ADAL" clId="{AE437B92-E036-490E-841F-791234170820}"/>
    <pc:docChg chg="modSld">
      <pc:chgData name="Martijn van Geffen" userId="0d8ea57d-840a-4839-b208-007caa94e8f4" providerId="ADAL" clId="{AE437B92-E036-490E-841F-791234170820}" dt="2021-01-28T12:28:20.599" v="0" actId="20577"/>
      <pc:docMkLst>
        <pc:docMk/>
      </pc:docMkLst>
      <pc:sldChg chg="modSp mod">
        <pc:chgData name="Martijn van Geffen" userId="0d8ea57d-840a-4839-b208-007caa94e8f4" providerId="ADAL" clId="{AE437B92-E036-490E-841F-791234170820}" dt="2021-01-28T12:28:20.599" v="0" actId="20577"/>
        <pc:sldMkLst>
          <pc:docMk/>
          <pc:sldMk cId="2150294391" sldId="287"/>
        </pc:sldMkLst>
        <pc:spChg chg="mod">
          <ac:chgData name="Martijn van Geffen" userId="0d8ea57d-840a-4839-b208-007caa94e8f4" providerId="ADAL" clId="{AE437B92-E036-490E-841F-791234170820}" dt="2021-01-28T12:28:20.599" v="0" actId="20577"/>
          <ac:spMkLst>
            <pc:docMk/>
            <pc:sldMk cId="2150294391" sldId="287"/>
            <ac:spMk id="5" creationId="{00000000-0000-0000-0000-000000000000}"/>
          </ac:spMkLst>
        </pc:spChg>
      </pc:sldChg>
    </pc:docChg>
  </pc:docChgLst>
  <pc:docChgLst>
    <pc:chgData name="Kory Thacher" userId="995eb0f2-f21c-467c-a947-4f8fc26d0f2e" providerId="ADAL" clId="{482BAC3D-5C82-40FA-BFD7-0985CC2187BE}"/>
    <pc:docChg chg="">
      <pc:chgData name="Kory Thacher" userId="995eb0f2-f21c-467c-a947-4f8fc26d0f2e" providerId="ADAL" clId="{482BAC3D-5C82-40FA-BFD7-0985CC2187BE}" dt="2021-03-29T18:28:57.995" v="21"/>
      <pc:docMkLst>
        <pc:docMk/>
      </pc:docMkLst>
      <pc:sldChg chg="modCm">
        <pc:chgData name="Kory Thacher" userId="995eb0f2-f21c-467c-a947-4f8fc26d0f2e" providerId="ADAL" clId="{482BAC3D-5C82-40FA-BFD7-0985CC2187BE}" dt="2021-03-29T18:08:16.862" v="2"/>
        <pc:sldMkLst>
          <pc:docMk/>
          <pc:sldMk cId="3569284726" sldId="260"/>
        </pc:sldMkLst>
      </pc:sldChg>
      <pc:sldChg chg="addCm">
        <pc:chgData name="Kory Thacher" userId="995eb0f2-f21c-467c-a947-4f8fc26d0f2e" providerId="ADAL" clId="{482BAC3D-5C82-40FA-BFD7-0985CC2187BE}" dt="2021-03-29T18:12:00.608" v="4"/>
        <pc:sldMkLst>
          <pc:docMk/>
          <pc:sldMk cId="3919307734" sldId="262"/>
        </pc:sldMkLst>
      </pc:sldChg>
      <pc:sldChg chg="addCm">
        <pc:chgData name="Kory Thacher" userId="995eb0f2-f21c-467c-a947-4f8fc26d0f2e" providerId="ADAL" clId="{482BAC3D-5C82-40FA-BFD7-0985CC2187BE}" dt="2021-03-29T18:21:51.372" v="12"/>
        <pc:sldMkLst>
          <pc:docMk/>
          <pc:sldMk cId="2916855770" sldId="266"/>
        </pc:sldMkLst>
      </pc:sldChg>
      <pc:sldChg chg="addCm">
        <pc:chgData name="Kory Thacher" userId="995eb0f2-f21c-467c-a947-4f8fc26d0f2e" providerId="ADAL" clId="{482BAC3D-5C82-40FA-BFD7-0985CC2187BE}" dt="2021-03-29T18:24:13.919" v="14"/>
        <pc:sldMkLst>
          <pc:docMk/>
          <pc:sldMk cId="3293857560" sldId="271"/>
        </pc:sldMkLst>
      </pc:sldChg>
      <pc:sldChg chg="addCm">
        <pc:chgData name="Kory Thacher" userId="995eb0f2-f21c-467c-a947-4f8fc26d0f2e" providerId="ADAL" clId="{482BAC3D-5C82-40FA-BFD7-0985CC2187BE}" dt="2021-03-29T18:24:25.683" v="15"/>
        <pc:sldMkLst>
          <pc:docMk/>
          <pc:sldMk cId="704602675" sldId="272"/>
        </pc:sldMkLst>
      </pc:sldChg>
      <pc:sldChg chg="addCm">
        <pc:chgData name="Kory Thacher" userId="995eb0f2-f21c-467c-a947-4f8fc26d0f2e" providerId="ADAL" clId="{482BAC3D-5C82-40FA-BFD7-0985CC2187BE}" dt="2021-03-29T18:25:24.308" v="16"/>
        <pc:sldMkLst>
          <pc:docMk/>
          <pc:sldMk cId="1954619106" sldId="273"/>
        </pc:sldMkLst>
      </pc:sldChg>
      <pc:sldChg chg="addCm">
        <pc:chgData name="Kory Thacher" userId="995eb0f2-f21c-467c-a947-4f8fc26d0f2e" providerId="ADAL" clId="{482BAC3D-5C82-40FA-BFD7-0985CC2187BE}" dt="2021-03-29T18:25:48.052" v="17"/>
        <pc:sldMkLst>
          <pc:docMk/>
          <pc:sldMk cId="1854552641" sldId="274"/>
        </pc:sldMkLst>
      </pc:sldChg>
      <pc:sldChg chg="addCm">
        <pc:chgData name="Kory Thacher" userId="995eb0f2-f21c-467c-a947-4f8fc26d0f2e" providerId="ADAL" clId="{482BAC3D-5C82-40FA-BFD7-0985CC2187BE}" dt="2021-03-29T18:26:17.788" v="18"/>
        <pc:sldMkLst>
          <pc:docMk/>
          <pc:sldMk cId="1614834569" sldId="277"/>
        </pc:sldMkLst>
      </pc:sldChg>
      <pc:sldChg chg="addCm">
        <pc:chgData name="Kory Thacher" userId="995eb0f2-f21c-467c-a947-4f8fc26d0f2e" providerId="ADAL" clId="{482BAC3D-5C82-40FA-BFD7-0985CC2187BE}" dt="2021-03-29T18:27:25.651" v="19"/>
        <pc:sldMkLst>
          <pc:docMk/>
          <pc:sldMk cId="717519573" sldId="284"/>
        </pc:sldMkLst>
      </pc:sldChg>
      <pc:sldChg chg="addCm">
        <pc:chgData name="Kory Thacher" userId="995eb0f2-f21c-467c-a947-4f8fc26d0f2e" providerId="ADAL" clId="{482BAC3D-5C82-40FA-BFD7-0985CC2187BE}" dt="2021-03-29T18:28:57.995" v="21"/>
        <pc:sldMkLst>
          <pc:docMk/>
          <pc:sldMk cId="2150294391" sldId="287"/>
        </pc:sldMkLst>
      </pc:sldChg>
      <pc:sldChg chg="addCm">
        <pc:chgData name="Kory Thacher" userId="995eb0f2-f21c-467c-a947-4f8fc26d0f2e" providerId="ADAL" clId="{482BAC3D-5C82-40FA-BFD7-0985CC2187BE}" dt="2021-03-17T22:35:00.471" v="0"/>
        <pc:sldMkLst>
          <pc:docMk/>
          <pc:sldMk cId="1138811350" sldId="288"/>
        </pc:sldMkLst>
      </pc:sldChg>
      <pc:sldChg chg="addCm">
        <pc:chgData name="Kory Thacher" userId="995eb0f2-f21c-467c-a947-4f8fc26d0f2e" providerId="ADAL" clId="{482BAC3D-5C82-40FA-BFD7-0985CC2187BE}" dt="2021-03-29T18:06:55.098" v="1"/>
        <pc:sldMkLst>
          <pc:docMk/>
          <pc:sldMk cId="2339254216" sldId="292"/>
        </pc:sldMkLst>
      </pc:sldChg>
      <pc:sldChg chg="addCm modCm">
        <pc:chgData name="Kory Thacher" userId="995eb0f2-f21c-467c-a947-4f8fc26d0f2e" providerId="ADAL" clId="{482BAC3D-5C82-40FA-BFD7-0985CC2187BE}" dt="2021-03-29T18:12:32.867" v="5"/>
        <pc:sldMkLst>
          <pc:docMk/>
          <pc:sldMk cId="1216265785" sldId="294"/>
        </pc:sldMkLst>
      </pc:sldChg>
      <pc:sldChg chg="addCm">
        <pc:chgData name="Kory Thacher" userId="995eb0f2-f21c-467c-a947-4f8fc26d0f2e" providerId="ADAL" clId="{482BAC3D-5C82-40FA-BFD7-0985CC2187BE}" dt="2021-03-29T18:20:46.104" v="11"/>
        <pc:sldMkLst>
          <pc:docMk/>
          <pc:sldMk cId="2254668817" sldId="298"/>
        </pc:sldMkLst>
      </pc:sldChg>
      <pc:sldChg chg="addCm">
        <pc:chgData name="Kory Thacher" userId="995eb0f2-f21c-467c-a947-4f8fc26d0f2e" providerId="ADAL" clId="{482BAC3D-5C82-40FA-BFD7-0985CC2187BE}" dt="2021-03-29T18:16:22.255" v="8"/>
        <pc:sldMkLst>
          <pc:docMk/>
          <pc:sldMk cId="3123952937" sldId="299"/>
        </pc:sldMkLst>
      </pc:sldChg>
      <pc:sldChg chg="addCm modCm">
        <pc:chgData name="Kory Thacher" userId="995eb0f2-f21c-467c-a947-4f8fc26d0f2e" providerId="ADAL" clId="{482BAC3D-5C82-40FA-BFD7-0985CC2187BE}" dt="2021-03-29T18:15:52.710" v="7"/>
        <pc:sldMkLst>
          <pc:docMk/>
          <pc:sldMk cId="2901526890" sldId="300"/>
        </pc:sldMkLst>
      </pc:sldChg>
      <pc:sldChg chg="addCm">
        <pc:chgData name="Kory Thacher" userId="995eb0f2-f21c-467c-a947-4f8fc26d0f2e" providerId="ADAL" clId="{482BAC3D-5C82-40FA-BFD7-0985CC2187BE}" dt="2021-03-29T18:18:20.771" v="9"/>
        <pc:sldMkLst>
          <pc:docMk/>
          <pc:sldMk cId="1289176943" sldId="301"/>
        </pc:sldMkLst>
      </pc:sldChg>
      <pc:sldChg chg="addCm">
        <pc:chgData name="Kory Thacher" userId="995eb0f2-f21c-467c-a947-4f8fc26d0f2e" providerId="ADAL" clId="{482BAC3D-5C82-40FA-BFD7-0985CC2187BE}" dt="2021-03-29T18:19:45.674" v="10"/>
        <pc:sldMkLst>
          <pc:docMk/>
          <pc:sldMk cId="2637085186" sldId="302"/>
        </pc:sldMkLst>
      </pc:sldChg>
      <pc:sldChg chg="addCm">
        <pc:chgData name="Kory Thacher" userId="995eb0f2-f21c-467c-a947-4f8fc26d0f2e" providerId="ADAL" clId="{482BAC3D-5C82-40FA-BFD7-0985CC2187BE}" dt="2021-03-29T18:23:17.823" v="13"/>
        <pc:sldMkLst>
          <pc:docMk/>
          <pc:sldMk cId="1818785807" sldId="303"/>
        </pc:sldMkLst>
      </pc:sldChg>
      <pc:sldChg chg="addCm">
        <pc:chgData name="Kory Thacher" userId="995eb0f2-f21c-467c-a947-4f8fc26d0f2e" providerId="ADAL" clId="{482BAC3D-5C82-40FA-BFD7-0985CC2187BE}" dt="2021-03-29T18:28:15.230" v="20"/>
        <pc:sldMkLst>
          <pc:docMk/>
          <pc:sldMk cId="3240642647" sldId="309"/>
        </pc:sldMkLst>
      </pc:sldChg>
    </pc:docChg>
  </pc:docChgLst>
  <pc:docChgLst>
    <pc:chgData name="Tony Radkiewicz" userId="9832534a-7e4f-4058-9c41-7f4a5b855c95" providerId="ADAL" clId="{71666886-DBC1-4AEF-9A3A-01508B8AC113}"/>
    <pc:docChg chg="undo redo custSel addSld delSld modSld modSection">
      <pc:chgData name="Tony Radkiewicz" userId="9832534a-7e4f-4058-9c41-7f4a5b855c95" providerId="ADAL" clId="{71666886-DBC1-4AEF-9A3A-01508B8AC113}" dt="2021-07-26T23:17:20.060" v="1278" actId="13782"/>
      <pc:docMkLst>
        <pc:docMk/>
      </pc:docMkLst>
      <pc:sldChg chg="del">
        <pc:chgData name="Tony Radkiewicz" userId="9832534a-7e4f-4058-9c41-7f4a5b855c95" providerId="ADAL" clId="{71666886-DBC1-4AEF-9A3A-01508B8AC113}" dt="2021-07-12T23:02:03.264" v="542" actId="47"/>
        <pc:sldMkLst>
          <pc:docMk/>
          <pc:sldMk cId="2524361148" sldId="268"/>
        </pc:sldMkLst>
      </pc:sldChg>
      <pc:sldChg chg="modSp mod">
        <pc:chgData name="Tony Radkiewicz" userId="9832534a-7e4f-4058-9c41-7f4a5b855c95" providerId="ADAL" clId="{71666886-DBC1-4AEF-9A3A-01508B8AC113}" dt="2021-07-26T22:39:11.728" v="1132" actId="108"/>
        <pc:sldMkLst>
          <pc:docMk/>
          <pc:sldMk cId="2339254216" sldId="292"/>
        </pc:sldMkLst>
        <pc:spChg chg="mod">
          <ac:chgData name="Tony Radkiewicz" userId="9832534a-7e4f-4058-9c41-7f4a5b855c95" providerId="ADAL" clId="{71666886-DBC1-4AEF-9A3A-01508B8AC113}" dt="2021-07-26T22:39:11.728" v="1132" actId="108"/>
          <ac:spMkLst>
            <pc:docMk/>
            <pc:sldMk cId="2339254216" sldId="292"/>
            <ac:spMk id="5" creationId="{7A2054FB-270A-47D3-A208-679F30861119}"/>
          </ac:spMkLst>
        </pc:spChg>
      </pc:sldChg>
      <pc:sldChg chg="del">
        <pc:chgData name="Tony Radkiewicz" userId="9832534a-7e4f-4058-9c41-7f4a5b855c95" providerId="ADAL" clId="{71666886-DBC1-4AEF-9A3A-01508B8AC113}" dt="2021-07-12T23:02:03.264" v="542" actId="47"/>
        <pc:sldMkLst>
          <pc:docMk/>
          <pc:sldMk cId="1289176943" sldId="301"/>
        </pc:sldMkLst>
      </pc:sldChg>
      <pc:sldChg chg="del">
        <pc:chgData name="Tony Radkiewicz" userId="9832534a-7e4f-4058-9c41-7f4a5b855c95" providerId="ADAL" clId="{71666886-DBC1-4AEF-9A3A-01508B8AC113}" dt="2021-07-12T23:02:03.264" v="542" actId="47"/>
        <pc:sldMkLst>
          <pc:docMk/>
          <pc:sldMk cId="2922585470" sldId="310"/>
        </pc:sldMkLst>
      </pc:sldChg>
      <pc:sldChg chg="del">
        <pc:chgData name="Tony Radkiewicz" userId="9832534a-7e4f-4058-9c41-7f4a5b855c95" providerId="ADAL" clId="{71666886-DBC1-4AEF-9A3A-01508B8AC113}" dt="2021-07-12T23:02:03.264" v="542" actId="47"/>
        <pc:sldMkLst>
          <pc:docMk/>
          <pc:sldMk cId="1028743727" sldId="311"/>
        </pc:sldMkLst>
      </pc:sldChg>
      <pc:sldChg chg="modSp mod">
        <pc:chgData name="Tony Radkiewicz" userId="9832534a-7e4f-4058-9c41-7f4a5b855c95" providerId="ADAL" clId="{71666886-DBC1-4AEF-9A3A-01508B8AC113}" dt="2021-07-26T22:40:52.426" v="1151" actId="20577"/>
        <pc:sldMkLst>
          <pc:docMk/>
          <pc:sldMk cId="2645410879" sldId="313"/>
        </pc:sldMkLst>
        <pc:spChg chg="mod">
          <ac:chgData name="Tony Radkiewicz" userId="9832534a-7e4f-4058-9c41-7f4a5b855c95" providerId="ADAL" clId="{71666886-DBC1-4AEF-9A3A-01508B8AC113}" dt="2021-07-26T22:40:52.426" v="1151" actId="20577"/>
          <ac:spMkLst>
            <pc:docMk/>
            <pc:sldMk cId="2645410879" sldId="313"/>
            <ac:spMk id="5" creationId="{A000310B-4532-4F07-8810-5095C1D640F1}"/>
          </ac:spMkLst>
        </pc:spChg>
        <pc:graphicFrameChg chg="mod">
          <ac:chgData name="Tony Radkiewicz" userId="9832534a-7e4f-4058-9c41-7f4a5b855c95" providerId="ADAL" clId="{71666886-DBC1-4AEF-9A3A-01508B8AC113}" dt="2021-07-12T22:59:52.334" v="538" actId="14100"/>
          <ac:graphicFrameMkLst>
            <pc:docMk/>
            <pc:sldMk cId="2645410879" sldId="313"/>
            <ac:graphicFrameMk id="6" creationId="{F25488A8-49AC-4416-AB84-CA82031319EA}"/>
          </ac:graphicFrameMkLst>
        </pc:graphicFrameChg>
      </pc:sldChg>
      <pc:sldChg chg="modSp mod">
        <pc:chgData name="Tony Radkiewicz" userId="9832534a-7e4f-4058-9c41-7f4a5b855c95" providerId="ADAL" clId="{71666886-DBC1-4AEF-9A3A-01508B8AC113}" dt="2021-07-26T22:41:20.412" v="1155" actId="20577"/>
        <pc:sldMkLst>
          <pc:docMk/>
          <pc:sldMk cId="836303966" sldId="316"/>
        </pc:sldMkLst>
        <pc:spChg chg="mod">
          <ac:chgData name="Tony Radkiewicz" userId="9832534a-7e4f-4058-9c41-7f4a5b855c95" providerId="ADAL" clId="{71666886-DBC1-4AEF-9A3A-01508B8AC113}" dt="2021-07-26T22:41:20.412" v="1155" actId="20577"/>
          <ac:spMkLst>
            <pc:docMk/>
            <pc:sldMk cId="836303966" sldId="316"/>
            <ac:spMk id="8" creationId="{3924148B-4BBB-493F-B5E6-F753154E9CE8}"/>
          </ac:spMkLst>
        </pc:spChg>
      </pc:sldChg>
      <pc:sldChg chg="modSp mod">
        <pc:chgData name="Tony Radkiewicz" userId="9832534a-7e4f-4058-9c41-7f4a5b855c95" providerId="ADAL" clId="{71666886-DBC1-4AEF-9A3A-01508B8AC113}" dt="2021-07-26T22:38:00.092" v="1117" actId="20577"/>
        <pc:sldMkLst>
          <pc:docMk/>
          <pc:sldMk cId="962167628" sldId="327"/>
        </pc:sldMkLst>
        <pc:spChg chg="mod">
          <ac:chgData name="Tony Radkiewicz" userId="9832534a-7e4f-4058-9c41-7f4a5b855c95" providerId="ADAL" clId="{71666886-DBC1-4AEF-9A3A-01508B8AC113}" dt="2021-07-26T22:38:00.092" v="1117" actId="20577"/>
          <ac:spMkLst>
            <pc:docMk/>
            <pc:sldMk cId="962167628" sldId="327"/>
            <ac:spMk id="3" creationId="{9E2AFA09-5E05-47FA-A3E9-BE4CDD21A6A9}"/>
          </ac:spMkLst>
        </pc:spChg>
      </pc:sldChg>
      <pc:sldChg chg="modSp mod delCm">
        <pc:chgData name="Tony Radkiewicz" userId="9832534a-7e4f-4058-9c41-7f4a5b855c95" providerId="ADAL" clId="{71666886-DBC1-4AEF-9A3A-01508B8AC113}" dt="2021-07-26T22:39:26.674" v="1136" actId="20577"/>
        <pc:sldMkLst>
          <pc:docMk/>
          <pc:sldMk cId="2565933029" sldId="328"/>
        </pc:sldMkLst>
        <pc:spChg chg="mod">
          <ac:chgData name="Tony Radkiewicz" userId="9832534a-7e4f-4058-9c41-7f4a5b855c95" providerId="ADAL" clId="{71666886-DBC1-4AEF-9A3A-01508B8AC113}" dt="2021-07-26T22:39:26.674" v="1136" actId="20577"/>
          <ac:spMkLst>
            <pc:docMk/>
            <pc:sldMk cId="2565933029" sldId="328"/>
            <ac:spMk id="3" creationId="{0EE12E86-6E5D-48F0-B80F-20EBE303209E}"/>
          </ac:spMkLst>
        </pc:spChg>
        <pc:spChg chg="mod">
          <ac:chgData name="Tony Radkiewicz" userId="9832534a-7e4f-4058-9c41-7f4a5b855c95" providerId="ADAL" clId="{71666886-DBC1-4AEF-9A3A-01508B8AC113}" dt="2021-07-12T21:30:18.189" v="7" actId="1076"/>
          <ac:spMkLst>
            <pc:docMk/>
            <pc:sldMk cId="2565933029" sldId="328"/>
            <ac:spMk id="4" creationId="{7E656016-FE81-4FDA-87F1-E1C9128B4C20}"/>
          </ac:spMkLst>
        </pc:spChg>
      </pc:sldChg>
      <pc:sldChg chg="modSp mod">
        <pc:chgData name="Tony Radkiewicz" userId="9832534a-7e4f-4058-9c41-7f4a5b855c95" providerId="ADAL" clId="{71666886-DBC1-4AEF-9A3A-01508B8AC113}" dt="2021-07-12T21:37:01.026" v="10" actId="6549"/>
        <pc:sldMkLst>
          <pc:docMk/>
          <pc:sldMk cId="2284968641" sldId="331"/>
        </pc:sldMkLst>
        <pc:spChg chg="mod">
          <ac:chgData name="Tony Radkiewicz" userId="9832534a-7e4f-4058-9c41-7f4a5b855c95" providerId="ADAL" clId="{71666886-DBC1-4AEF-9A3A-01508B8AC113}" dt="2021-07-12T21:36:49.178" v="9" actId="20577"/>
          <ac:spMkLst>
            <pc:docMk/>
            <pc:sldMk cId="2284968641" sldId="331"/>
            <ac:spMk id="3" creationId="{0EE12E86-6E5D-48F0-B80F-20EBE303209E}"/>
          </ac:spMkLst>
        </pc:spChg>
        <pc:spChg chg="mod">
          <ac:chgData name="Tony Radkiewicz" userId="9832534a-7e4f-4058-9c41-7f4a5b855c95" providerId="ADAL" clId="{71666886-DBC1-4AEF-9A3A-01508B8AC113}" dt="2021-07-12T21:37:01.026" v="10" actId="6549"/>
          <ac:spMkLst>
            <pc:docMk/>
            <pc:sldMk cId="2284968641" sldId="331"/>
            <ac:spMk id="4" creationId="{7E656016-FE81-4FDA-87F1-E1C9128B4C20}"/>
          </ac:spMkLst>
        </pc:spChg>
      </pc:sldChg>
      <pc:sldChg chg="delSp modSp add mod modNotesTx">
        <pc:chgData name="Tony Radkiewicz" userId="9832534a-7e4f-4058-9c41-7f4a5b855c95" providerId="ADAL" clId="{71666886-DBC1-4AEF-9A3A-01508B8AC113}" dt="2021-07-26T22:39:40.124" v="1138" actId="20577"/>
        <pc:sldMkLst>
          <pc:docMk/>
          <pc:sldMk cId="3869881594" sldId="332"/>
        </pc:sldMkLst>
        <pc:spChg chg="mod">
          <ac:chgData name="Tony Radkiewicz" userId="9832534a-7e4f-4058-9c41-7f4a5b855c95" providerId="ADAL" clId="{71666886-DBC1-4AEF-9A3A-01508B8AC113}" dt="2021-07-26T22:39:40.124" v="1138" actId="20577"/>
          <ac:spMkLst>
            <pc:docMk/>
            <pc:sldMk cId="3869881594" sldId="332"/>
            <ac:spMk id="3" creationId="{0EE12E86-6E5D-48F0-B80F-20EBE303209E}"/>
          </ac:spMkLst>
        </pc:spChg>
        <pc:spChg chg="del mod">
          <ac:chgData name="Tony Radkiewicz" userId="9832534a-7e4f-4058-9c41-7f4a5b855c95" providerId="ADAL" clId="{71666886-DBC1-4AEF-9A3A-01508B8AC113}" dt="2021-07-12T21:44:49.798" v="29" actId="478"/>
          <ac:spMkLst>
            <pc:docMk/>
            <pc:sldMk cId="3869881594" sldId="332"/>
            <ac:spMk id="4" creationId="{7E656016-FE81-4FDA-87F1-E1C9128B4C20}"/>
          </ac:spMkLst>
        </pc:spChg>
        <pc:graphicFrameChg chg="mod">
          <ac:chgData name="Tony Radkiewicz" userId="9832534a-7e4f-4058-9c41-7f4a5b855c95" providerId="ADAL" clId="{71666886-DBC1-4AEF-9A3A-01508B8AC113}" dt="2021-07-12T21:47:36.202" v="78" actId="255"/>
          <ac:graphicFrameMkLst>
            <pc:docMk/>
            <pc:sldMk cId="3869881594" sldId="332"/>
            <ac:graphicFrameMk id="9" creationId="{484138B8-E1EA-4320-AFFC-374584BF065F}"/>
          </ac:graphicFrameMkLst>
        </pc:graphicFrameChg>
      </pc:sldChg>
      <pc:sldChg chg="addSp delSp modSp add mod">
        <pc:chgData name="Tony Radkiewicz" userId="9832534a-7e4f-4058-9c41-7f4a5b855c95" providerId="ADAL" clId="{71666886-DBC1-4AEF-9A3A-01508B8AC113}" dt="2021-07-16T19:56:04.177" v="967" actId="20577"/>
        <pc:sldMkLst>
          <pc:docMk/>
          <pc:sldMk cId="236941927" sldId="333"/>
        </pc:sldMkLst>
        <pc:spChg chg="mod">
          <ac:chgData name="Tony Radkiewicz" userId="9832534a-7e4f-4058-9c41-7f4a5b855c95" providerId="ADAL" clId="{71666886-DBC1-4AEF-9A3A-01508B8AC113}" dt="2021-07-12T21:56:35.774" v="99" actId="20577"/>
          <ac:spMkLst>
            <pc:docMk/>
            <pc:sldMk cId="236941927" sldId="333"/>
            <ac:spMk id="2" creationId="{BE917E6D-41AE-40EC-8E2C-1394A833D262}"/>
          </ac:spMkLst>
        </pc:spChg>
        <pc:spChg chg="add mod">
          <ac:chgData name="Tony Radkiewicz" userId="9832534a-7e4f-4058-9c41-7f4a5b855c95" providerId="ADAL" clId="{71666886-DBC1-4AEF-9A3A-01508B8AC113}" dt="2021-07-12T21:56:47.287" v="101" actId="14100"/>
          <ac:spMkLst>
            <pc:docMk/>
            <pc:sldMk cId="236941927" sldId="333"/>
            <ac:spMk id="3" creationId="{37FADCF0-A986-43DD-A118-C6AB1779E701}"/>
          </ac:spMkLst>
        </pc:spChg>
        <pc:spChg chg="mod">
          <ac:chgData name="Tony Radkiewicz" userId="9832534a-7e4f-4058-9c41-7f4a5b855c95" providerId="ADAL" clId="{71666886-DBC1-4AEF-9A3A-01508B8AC113}" dt="2021-07-16T19:56:04.177" v="967" actId="20577"/>
          <ac:spMkLst>
            <pc:docMk/>
            <pc:sldMk cId="236941927" sldId="333"/>
            <ac:spMk id="5" creationId="{A000310B-4532-4F07-8810-5095C1D640F1}"/>
          </ac:spMkLst>
        </pc:spChg>
        <pc:graphicFrameChg chg="del">
          <ac:chgData name="Tony Radkiewicz" userId="9832534a-7e4f-4058-9c41-7f4a5b855c95" providerId="ADAL" clId="{71666886-DBC1-4AEF-9A3A-01508B8AC113}" dt="2021-07-12T21:56:43.484" v="100" actId="11529"/>
          <ac:graphicFrameMkLst>
            <pc:docMk/>
            <pc:sldMk cId="236941927" sldId="333"/>
            <ac:graphicFrameMk id="6" creationId="{F25488A8-49AC-4416-AB84-CA82031319EA}"/>
          </ac:graphicFrameMkLst>
        </pc:graphicFrameChg>
      </pc:sldChg>
      <pc:sldChg chg="addSp delSp modSp add mod">
        <pc:chgData name="Tony Radkiewicz" userId="9832534a-7e4f-4058-9c41-7f4a5b855c95" providerId="ADAL" clId="{71666886-DBC1-4AEF-9A3A-01508B8AC113}" dt="2021-07-26T22:40:36.416" v="1150" actId="20577"/>
        <pc:sldMkLst>
          <pc:docMk/>
          <pc:sldMk cId="3659623250" sldId="334"/>
        </pc:sldMkLst>
        <pc:spChg chg="add mod">
          <ac:chgData name="Tony Radkiewicz" userId="9832534a-7e4f-4058-9c41-7f4a5b855c95" providerId="ADAL" clId="{71666886-DBC1-4AEF-9A3A-01508B8AC113}" dt="2021-07-26T22:09:44.693" v="1068" actId="20577"/>
          <ac:spMkLst>
            <pc:docMk/>
            <pc:sldMk cId="3659623250" sldId="334"/>
            <ac:spMk id="3" creationId="{7A496D3C-33A2-47C4-B78F-51B678269E43}"/>
          </ac:spMkLst>
        </pc:spChg>
        <pc:spChg chg="mod">
          <ac:chgData name="Tony Radkiewicz" userId="9832534a-7e4f-4058-9c41-7f4a5b855c95" providerId="ADAL" clId="{71666886-DBC1-4AEF-9A3A-01508B8AC113}" dt="2021-07-26T22:40:36.416" v="1150" actId="20577"/>
          <ac:spMkLst>
            <pc:docMk/>
            <pc:sldMk cId="3659623250" sldId="334"/>
            <ac:spMk id="5" creationId="{A000310B-4532-4F07-8810-5095C1D640F1}"/>
          </ac:spMkLst>
        </pc:spChg>
        <pc:graphicFrameChg chg="del">
          <ac:chgData name="Tony Radkiewicz" userId="9832534a-7e4f-4058-9c41-7f4a5b855c95" providerId="ADAL" clId="{71666886-DBC1-4AEF-9A3A-01508B8AC113}" dt="2021-07-12T21:56:54.581" v="102" actId="11529"/>
          <ac:graphicFrameMkLst>
            <pc:docMk/>
            <pc:sldMk cId="3659623250" sldId="334"/>
            <ac:graphicFrameMk id="6" creationId="{F25488A8-49AC-4416-AB84-CA82031319EA}"/>
          </ac:graphicFrameMkLst>
        </pc:graphicFrameChg>
      </pc:sldChg>
      <pc:sldChg chg="modSp mod">
        <pc:chgData name="Tony Radkiewicz" userId="9832534a-7e4f-4058-9c41-7f4a5b855c95" providerId="ADAL" clId="{71666886-DBC1-4AEF-9A3A-01508B8AC113}" dt="2021-07-26T22:40:03.924" v="1140" actId="20577"/>
        <pc:sldMkLst>
          <pc:docMk/>
          <pc:sldMk cId="3247485498" sldId="336"/>
        </pc:sldMkLst>
        <pc:spChg chg="mod">
          <ac:chgData name="Tony Radkiewicz" userId="9832534a-7e4f-4058-9c41-7f4a5b855c95" providerId="ADAL" clId="{71666886-DBC1-4AEF-9A3A-01508B8AC113}" dt="2021-07-26T22:40:03.924" v="1140" actId="20577"/>
          <ac:spMkLst>
            <pc:docMk/>
            <pc:sldMk cId="3247485498" sldId="336"/>
            <ac:spMk id="5" creationId="{CD7AC34A-2A1C-4695-B0AE-C30235314FC8}"/>
          </ac:spMkLst>
        </pc:spChg>
        <pc:graphicFrameChg chg="mod">
          <ac:chgData name="Tony Radkiewicz" userId="9832534a-7e4f-4058-9c41-7f4a5b855c95" providerId="ADAL" clId="{71666886-DBC1-4AEF-9A3A-01508B8AC113}" dt="2021-07-12T22:10:05.978" v="156" actId="1076"/>
          <ac:graphicFrameMkLst>
            <pc:docMk/>
            <pc:sldMk cId="3247485498" sldId="336"/>
            <ac:graphicFrameMk id="6" creationId="{A1E971C9-D45C-482C-ADBC-185B72081DAF}"/>
          </ac:graphicFrameMkLst>
        </pc:graphicFrameChg>
      </pc:sldChg>
      <pc:sldChg chg="modSp">
        <pc:chgData name="Tony Radkiewicz" userId="9832534a-7e4f-4058-9c41-7f4a5b855c95" providerId="ADAL" clId="{71666886-DBC1-4AEF-9A3A-01508B8AC113}" dt="2021-07-12T22:12:21.325" v="159" actId="113"/>
        <pc:sldMkLst>
          <pc:docMk/>
          <pc:sldMk cId="4113277077" sldId="337"/>
        </pc:sldMkLst>
        <pc:graphicFrameChg chg="mod">
          <ac:chgData name="Tony Radkiewicz" userId="9832534a-7e4f-4058-9c41-7f4a5b855c95" providerId="ADAL" clId="{71666886-DBC1-4AEF-9A3A-01508B8AC113}" dt="2021-07-12T22:12:21.325" v="159" actId="113"/>
          <ac:graphicFrameMkLst>
            <pc:docMk/>
            <pc:sldMk cId="4113277077" sldId="337"/>
            <ac:graphicFrameMk id="6" creationId="{A1E971C9-D45C-482C-ADBC-185B72081DAF}"/>
          </ac:graphicFrameMkLst>
        </pc:graphicFrameChg>
      </pc:sldChg>
      <pc:sldChg chg="modSp add mod">
        <pc:chgData name="Tony Radkiewicz" userId="9832534a-7e4f-4058-9c41-7f4a5b855c95" providerId="ADAL" clId="{71666886-DBC1-4AEF-9A3A-01508B8AC113}" dt="2021-07-12T22:36:38.099" v="535" actId="14"/>
        <pc:sldMkLst>
          <pc:docMk/>
          <pc:sldMk cId="675017040" sldId="338"/>
        </pc:sldMkLst>
        <pc:spChg chg="mod">
          <ac:chgData name="Tony Radkiewicz" userId="9832534a-7e4f-4058-9c41-7f4a5b855c95" providerId="ADAL" clId="{71666886-DBC1-4AEF-9A3A-01508B8AC113}" dt="2021-07-12T22:36:38.099" v="535" actId="14"/>
          <ac:spMkLst>
            <pc:docMk/>
            <pc:sldMk cId="675017040" sldId="338"/>
            <ac:spMk id="3" creationId="{37FADCF0-A986-43DD-A118-C6AB1779E701}"/>
          </ac:spMkLst>
        </pc:spChg>
        <pc:spChg chg="mod">
          <ac:chgData name="Tony Radkiewicz" userId="9832534a-7e4f-4058-9c41-7f4a5b855c95" providerId="ADAL" clId="{71666886-DBC1-4AEF-9A3A-01508B8AC113}" dt="2021-07-12T22:31:18.091" v="162" actId="14100"/>
          <ac:spMkLst>
            <pc:docMk/>
            <pc:sldMk cId="675017040" sldId="338"/>
            <ac:spMk id="5" creationId="{A000310B-4532-4F07-8810-5095C1D640F1}"/>
          </ac:spMkLst>
        </pc:spChg>
      </pc:sldChg>
      <pc:sldChg chg="addSp delSp modSp mod">
        <pc:chgData name="Tony Radkiewicz" userId="9832534a-7e4f-4058-9c41-7f4a5b855c95" providerId="ADAL" clId="{71666886-DBC1-4AEF-9A3A-01508B8AC113}" dt="2021-07-26T22:41:06.939" v="1154" actId="20577"/>
        <pc:sldMkLst>
          <pc:docMk/>
          <pc:sldMk cId="3208853939" sldId="339"/>
        </pc:sldMkLst>
        <pc:spChg chg="mod">
          <ac:chgData name="Tony Radkiewicz" userId="9832534a-7e4f-4058-9c41-7f4a5b855c95" providerId="ADAL" clId="{71666886-DBC1-4AEF-9A3A-01508B8AC113}" dt="2021-07-26T22:41:06.939" v="1154" actId="20577"/>
          <ac:spMkLst>
            <pc:docMk/>
            <pc:sldMk cId="3208853939" sldId="339"/>
            <ac:spMk id="5" creationId="{A000310B-4532-4F07-8810-5095C1D640F1}"/>
          </ac:spMkLst>
        </pc:spChg>
        <pc:picChg chg="add del mod">
          <ac:chgData name="Tony Radkiewicz" userId="9832534a-7e4f-4058-9c41-7f4a5b855c95" providerId="ADAL" clId="{71666886-DBC1-4AEF-9A3A-01508B8AC113}" dt="2021-07-26T22:25:15.802" v="1075" actId="478"/>
          <ac:picMkLst>
            <pc:docMk/>
            <pc:sldMk cId="3208853939" sldId="339"/>
            <ac:picMk id="6" creationId="{36ACA375-BE8D-422B-A51D-62ACB06CC23C}"/>
          </ac:picMkLst>
        </pc:picChg>
        <pc:picChg chg="add mod">
          <ac:chgData name="Tony Radkiewicz" userId="9832534a-7e4f-4058-9c41-7f4a5b855c95" providerId="ADAL" clId="{71666886-DBC1-4AEF-9A3A-01508B8AC113}" dt="2021-07-26T22:30:21.394" v="1111" actId="1076"/>
          <ac:picMkLst>
            <pc:docMk/>
            <pc:sldMk cId="3208853939" sldId="339"/>
            <ac:picMk id="8" creationId="{C70FDF3E-49EC-49A1-963F-C57873C22A35}"/>
          </ac:picMkLst>
        </pc:picChg>
      </pc:sldChg>
      <pc:sldChg chg="modSp mod">
        <pc:chgData name="Tony Radkiewicz" userId="9832534a-7e4f-4058-9c41-7f4a5b855c95" providerId="ADAL" clId="{71666886-DBC1-4AEF-9A3A-01508B8AC113}" dt="2021-07-16T19:26:30.020" v="962" actId="14100"/>
        <pc:sldMkLst>
          <pc:docMk/>
          <pc:sldMk cId="38870530" sldId="340"/>
        </pc:sldMkLst>
        <pc:graphicFrameChg chg="mod">
          <ac:chgData name="Tony Radkiewicz" userId="9832534a-7e4f-4058-9c41-7f4a5b855c95" providerId="ADAL" clId="{71666886-DBC1-4AEF-9A3A-01508B8AC113}" dt="2021-07-16T19:26:30.020" v="962" actId="14100"/>
          <ac:graphicFrameMkLst>
            <pc:docMk/>
            <pc:sldMk cId="38870530" sldId="340"/>
            <ac:graphicFrameMk id="2" creationId="{D69881B0-814B-4753-9A0C-C47A84417BA9}"/>
          </ac:graphicFrameMkLst>
        </pc:graphicFrameChg>
        <pc:graphicFrameChg chg="mod">
          <ac:chgData name="Tony Radkiewicz" userId="9832534a-7e4f-4058-9c41-7f4a5b855c95" providerId="ADAL" clId="{71666886-DBC1-4AEF-9A3A-01508B8AC113}" dt="2021-07-16T19:25:13.838" v="946" actId="14100"/>
          <ac:graphicFrameMkLst>
            <pc:docMk/>
            <pc:sldMk cId="38870530" sldId="340"/>
            <ac:graphicFrameMk id="5" creationId="{5F9C3BDE-9FD9-4CAA-B582-1568F015BD7D}"/>
          </ac:graphicFrameMkLst>
        </pc:graphicFrameChg>
      </pc:sldChg>
      <pc:sldChg chg="modSp mod">
        <pc:chgData name="Tony Radkiewicz" userId="9832534a-7e4f-4058-9c41-7f4a5b855c95" providerId="ADAL" clId="{71666886-DBC1-4AEF-9A3A-01508B8AC113}" dt="2021-07-26T22:46:38.578" v="1166" actId="2711"/>
        <pc:sldMkLst>
          <pc:docMk/>
          <pc:sldMk cId="2058050693" sldId="341"/>
        </pc:sldMkLst>
        <pc:spChg chg="mod">
          <ac:chgData name="Tony Radkiewicz" userId="9832534a-7e4f-4058-9c41-7f4a5b855c95" providerId="ADAL" clId="{71666886-DBC1-4AEF-9A3A-01508B8AC113}" dt="2021-07-26T22:46:38.578" v="1166" actId="2711"/>
          <ac:spMkLst>
            <pc:docMk/>
            <pc:sldMk cId="2058050693" sldId="341"/>
            <ac:spMk id="7" creationId="{070693A1-62E7-423C-A235-D9950BC7BAA0}"/>
          </ac:spMkLst>
        </pc:spChg>
        <pc:graphicFrameChg chg="mod">
          <ac:chgData name="Tony Radkiewicz" userId="9832534a-7e4f-4058-9c41-7f4a5b855c95" providerId="ADAL" clId="{71666886-DBC1-4AEF-9A3A-01508B8AC113}" dt="2021-07-16T18:59:59.022" v="934" actId="1076"/>
          <ac:graphicFrameMkLst>
            <pc:docMk/>
            <pc:sldMk cId="2058050693" sldId="341"/>
            <ac:graphicFrameMk id="2" creationId="{7F3CE839-8BF9-40C4-9768-A02DE1FEE5C5}"/>
          </ac:graphicFrameMkLst>
        </pc:graphicFrameChg>
        <pc:graphicFrameChg chg="mod">
          <ac:chgData name="Tony Radkiewicz" userId="9832534a-7e4f-4058-9c41-7f4a5b855c95" providerId="ADAL" clId="{71666886-DBC1-4AEF-9A3A-01508B8AC113}" dt="2021-07-16T18:59:45.814" v="930" actId="14100"/>
          <ac:graphicFrameMkLst>
            <pc:docMk/>
            <pc:sldMk cId="2058050693" sldId="341"/>
            <ac:graphicFrameMk id="5" creationId="{5F9C3BDE-9FD9-4CAA-B582-1568F015BD7D}"/>
          </ac:graphicFrameMkLst>
        </pc:graphicFrameChg>
      </pc:sldChg>
      <pc:sldChg chg="addSp delSp modSp add mod">
        <pc:chgData name="Tony Radkiewicz" userId="9832534a-7e4f-4058-9c41-7f4a5b855c95" providerId="ADAL" clId="{71666886-DBC1-4AEF-9A3A-01508B8AC113}" dt="2021-07-26T22:42:05.653" v="1158" actId="20577"/>
        <pc:sldMkLst>
          <pc:docMk/>
          <pc:sldMk cId="3726154376" sldId="342"/>
        </pc:sldMkLst>
        <pc:spChg chg="mod">
          <ac:chgData name="Tony Radkiewicz" userId="9832534a-7e4f-4058-9c41-7f4a5b855c95" providerId="ADAL" clId="{71666886-DBC1-4AEF-9A3A-01508B8AC113}" dt="2021-07-16T18:29:04.085" v="573" actId="20577"/>
          <ac:spMkLst>
            <pc:docMk/>
            <pc:sldMk cId="3726154376" sldId="342"/>
            <ac:spMk id="3" creationId="{276763AC-E01B-45D0-806A-1F2948DFF0A8}"/>
          </ac:spMkLst>
        </pc:spChg>
        <pc:spChg chg="add mod">
          <ac:chgData name="Tony Radkiewicz" userId="9832534a-7e4f-4058-9c41-7f4a5b855c95" providerId="ADAL" clId="{71666886-DBC1-4AEF-9A3A-01508B8AC113}" dt="2021-07-16T18:48:21.680" v="919" actId="14100"/>
          <ac:spMkLst>
            <pc:docMk/>
            <pc:sldMk cId="3726154376" sldId="342"/>
            <ac:spMk id="4" creationId="{4400EEA3-45CD-49E9-88B7-F638D10CFF1D}"/>
          </ac:spMkLst>
        </pc:spChg>
        <pc:spChg chg="mod">
          <ac:chgData name="Tony Radkiewicz" userId="9832534a-7e4f-4058-9c41-7f4a5b855c95" providerId="ADAL" clId="{71666886-DBC1-4AEF-9A3A-01508B8AC113}" dt="2021-07-26T22:42:05.653" v="1158" actId="20577"/>
          <ac:spMkLst>
            <pc:docMk/>
            <pc:sldMk cId="3726154376" sldId="342"/>
            <ac:spMk id="7" creationId="{070693A1-62E7-423C-A235-D9950BC7BAA0}"/>
          </ac:spMkLst>
        </pc:spChg>
        <pc:graphicFrameChg chg="del">
          <ac:chgData name="Tony Radkiewicz" userId="9832534a-7e4f-4058-9c41-7f4a5b855c95" providerId="ADAL" clId="{71666886-DBC1-4AEF-9A3A-01508B8AC113}" dt="2021-07-16T18:29:17.753" v="574" actId="11529"/>
          <ac:graphicFrameMkLst>
            <pc:docMk/>
            <pc:sldMk cId="3726154376" sldId="342"/>
            <ac:graphicFrameMk id="2" creationId="{7F3CE839-8BF9-40C4-9768-A02DE1FEE5C5}"/>
          </ac:graphicFrameMkLst>
        </pc:graphicFrameChg>
        <pc:graphicFrameChg chg="mod modGraphic">
          <ac:chgData name="Tony Radkiewicz" userId="9832534a-7e4f-4058-9c41-7f4a5b855c95" providerId="ADAL" clId="{71666886-DBC1-4AEF-9A3A-01508B8AC113}" dt="2021-07-16T19:13:52.437" v="944" actId="14100"/>
          <ac:graphicFrameMkLst>
            <pc:docMk/>
            <pc:sldMk cId="3726154376" sldId="342"/>
            <ac:graphicFrameMk id="5" creationId="{5F9C3BDE-9FD9-4CAA-B582-1568F015BD7D}"/>
          </ac:graphicFrameMkLst>
        </pc:graphicFrameChg>
      </pc:sldChg>
      <pc:sldChg chg="modSp mod">
        <pc:chgData name="Tony Radkiewicz" userId="9832534a-7e4f-4058-9c41-7f4a5b855c95" providerId="ADAL" clId="{71666886-DBC1-4AEF-9A3A-01508B8AC113}" dt="2021-07-16T20:02:24.117" v="995" actId="20577"/>
        <pc:sldMkLst>
          <pc:docMk/>
          <pc:sldMk cId="3210394503" sldId="344"/>
        </pc:sldMkLst>
        <pc:spChg chg="mod">
          <ac:chgData name="Tony Radkiewicz" userId="9832534a-7e4f-4058-9c41-7f4a5b855c95" providerId="ADAL" clId="{71666886-DBC1-4AEF-9A3A-01508B8AC113}" dt="2021-07-16T20:02:24.117" v="995" actId="20577"/>
          <ac:spMkLst>
            <pc:docMk/>
            <pc:sldMk cId="3210394503" sldId="344"/>
            <ac:spMk id="5" creationId="{A000310B-4532-4F07-8810-5095C1D640F1}"/>
          </ac:spMkLst>
        </pc:spChg>
      </pc:sldChg>
      <pc:sldChg chg="modSp mod">
        <pc:chgData name="Tony Radkiewicz" userId="9832534a-7e4f-4058-9c41-7f4a5b855c95" providerId="ADAL" clId="{71666886-DBC1-4AEF-9A3A-01508B8AC113}" dt="2021-07-26T22:40:19.796" v="1146" actId="20577"/>
        <pc:sldMkLst>
          <pc:docMk/>
          <pc:sldMk cId="2153541095" sldId="350"/>
        </pc:sldMkLst>
        <pc:spChg chg="mod">
          <ac:chgData name="Tony Radkiewicz" userId="9832534a-7e4f-4058-9c41-7f4a5b855c95" providerId="ADAL" clId="{71666886-DBC1-4AEF-9A3A-01508B8AC113}" dt="2021-07-26T22:40:19.796" v="1146" actId="20577"/>
          <ac:spMkLst>
            <pc:docMk/>
            <pc:sldMk cId="2153541095" sldId="350"/>
            <ac:spMk id="5" creationId="{A000310B-4532-4F07-8810-5095C1D640F1}"/>
          </ac:spMkLst>
        </pc:spChg>
      </pc:sldChg>
      <pc:sldChg chg="modSp add del mod">
        <pc:chgData name="Tony Radkiewicz" userId="9832534a-7e4f-4058-9c41-7f4a5b855c95" providerId="ADAL" clId="{71666886-DBC1-4AEF-9A3A-01508B8AC113}" dt="2021-07-26T21:44:03.780" v="1003" actId="2696"/>
        <pc:sldMkLst>
          <pc:docMk/>
          <pc:sldMk cId="1292135479" sldId="351"/>
        </pc:sldMkLst>
        <pc:graphicFrameChg chg="mod">
          <ac:chgData name="Tony Radkiewicz" userId="9832534a-7e4f-4058-9c41-7f4a5b855c95" providerId="ADAL" clId="{71666886-DBC1-4AEF-9A3A-01508B8AC113}" dt="2021-07-26T21:43:46.136" v="1002" actId="14100"/>
          <ac:graphicFrameMkLst>
            <pc:docMk/>
            <pc:sldMk cId="1292135479" sldId="351"/>
            <ac:graphicFrameMk id="4" creationId="{9ABB945D-B825-4964-938F-6E414FFEE80F}"/>
          </ac:graphicFrameMkLst>
        </pc:graphicFrameChg>
      </pc:sldChg>
      <pc:sldChg chg="modSp mod">
        <pc:chgData name="Tony Radkiewicz" userId="9832534a-7e4f-4058-9c41-7f4a5b855c95" providerId="ADAL" clId="{71666886-DBC1-4AEF-9A3A-01508B8AC113}" dt="2021-07-26T23:17:20.060" v="1278" actId="13782"/>
        <pc:sldMkLst>
          <pc:docMk/>
          <pc:sldMk cId="2706938236" sldId="351"/>
        </pc:sldMkLst>
        <pc:spChg chg="mod">
          <ac:chgData name="Tony Radkiewicz" userId="9832534a-7e4f-4058-9c41-7f4a5b855c95" providerId="ADAL" clId="{71666886-DBC1-4AEF-9A3A-01508B8AC113}" dt="2021-07-26T23:14:16.995" v="1181" actId="20577"/>
          <ac:spMkLst>
            <pc:docMk/>
            <pc:sldMk cId="2706938236" sldId="351"/>
            <ac:spMk id="2" creationId="{0D571322-9F37-477D-9B5B-EBF49D8B1DE4}"/>
          </ac:spMkLst>
        </pc:spChg>
        <pc:graphicFrameChg chg="mod modGraphic">
          <ac:chgData name="Tony Radkiewicz" userId="9832534a-7e4f-4058-9c41-7f4a5b855c95" providerId="ADAL" clId="{71666886-DBC1-4AEF-9A3A-01508B8AC113}" dt="2021-07-26T23:17:20.060" v="1278" actId="13782"/>
          <ac:graphicFrameMkLst>
            <pc:docMk/>
            <pc:sldMk cId="2706938236" sldId="351"/>
            <ac:graphicFrameMk id="7" creationId="{7368B303-CF16-4220-B838-8FA9A1A56F31}"/>
          </ac:graphicFrameMkLst>
        </pc:graphicFrameChg>
      </pc:sldChg>
      <pc:sldChg chg="add">
        <pc:chgData name="Tony Radkiewicz" userId="9832534a-7e4f-4058-9c41-7f4a5b855c95" providerId="ADAL" clId="{71666886-DBC1-4AEF-9A3A-01508B8AC113}" dt="2021-07-26T23:15:22.351" v="1272" actId="2890"/>
        <pc:sldMkLst>
          <pc:docMk/>
          <pc:sldMk cId="1098757792" sldId="352"/>
        </pc:sldMkLst>
      </pc:sldChg>
    </pc:docChg>
  </pc:docChgLst>
  <pc:docChgLst>
    <pc:chgData name="Tony Radkiewicz" userId="9832534a-7e4f-4058-9c41-7f4a5b855c95" providerId="ADAL" clId="{FBE83242-B7ED-4967-8A37-D1BF56425337}"/>
    <pc:docChg chg="undo custSel addSld delSld modSld sldOrd modSection">
      <pc:chgData name="Tony Radkiewicz" userId="9832534a-7e4f-4058-9c41-7f4a5b855c95" providerId="ADAL" clId="{FBE83242-B7ED-4967-8A37-D1BF56425337}" dt="2021-06-09T23:04:10.585" v="1274" actId="6549"/>
      <pc:docMkLst>
        <pc:docMk/>
      </pc:docMkLst>
      <pc:sldChg chg="mod modShow">
        <pc:chgData name="Tony Radkiewicz" userId="9832534a-7e4f-4058-9c41-7f4a5b855c95" providerId="ADAL" clId="{FBE83242-B7ED-4967-8A37-D1BF56425337}" dt="2021-06-09T22:23:28.384" v="961" actId="729"/>
        <pc:sldMkLst>
          <pc:docMk/>
          <pc:sldMk cId="3634448245" sldId="261"/>
        </pc:sldMkLst>
      </pc:sldChg>
      <pc:sldChg chg="modSp mod addCm modNotesTx">
        <pc:chgData name="Tony Radkiewicz" userId="9832534a-7e4f-4058-9c41-7f4a5b855c95" providerId="ADAL" clId="{FBE83242-B7ED-4967-8A37-D1BF56425337}" dt="2021-06-09T21:39:31.447" v="559"/>
        <pc:sldMkLst>
          <pc:docMk/>
          <pc:sldMk cId="3919307734" sldId="262"/>
        </pc:sldMkLst>
        <pc:graphicFrameChg chg="modGraphic">
          <ac:chgData name="Tony Radkiewicz" userId="9832534a-7e4f-4058-9c41-7f4a5b855c95" providerId="ADAL" clId="{FBE83242-B7ED-4967-8A37-D1BF56425337}" dt="2021-06-09T21:39:16.229" v="558" actId="20577"/>
          <ac:graphicFrameMkLst>
            <pc:docMk/>
            <pc:sldMk cId="3919307734" sldId="262"/>
            <ac:graphicFrameMk id="9" creationId="{484138B8-E1EA-4320-AFFC-374584BF065F}"/>
          </ac:graphicFrameMkLst>
        </pc:graphicFrameChg>
      </pc:sldChg>
      <pc:sldChg chg="mod modShow">
        <pc:chgData name="Tony Radkiewicz" userId="9832534a-7e4f-4058-9c41-7f4a5b855c95" providerId="ADAL" clId="{FBE83242-B7ED-4967-8A37-D1BF56425337}" dt="2021-06-09T22:25:10.856" v="975" actId="729"/>
        <pc:sldMkLst>
          <pc:docMk/>
          <pc:sldMk cId="216358319" sldId="263"/>
        </pc:sldMkLst>
      </pc:sldChg>
      <pc:sldChg chg="mod modShow">
        <pc:chgData name="Tony Radkiewicz" userId="9832534a-7e4f-4058-9c41-7f4a5b855c95" providerId="ADAL" clId="{FBE83242-B7ED-4967-8A37-D1BF56425337}" dt="2021-06-09T22:25:53.631" v="976" actId="729"/>
        <pc:sldMkLst>
          <pc:docMk/>
          <pc:sldMk cId="1209509666" sldId="264"/>
        </pc:sldMkLst>
      </pc:sldChg>
      <pc:sldChg chg="mod modShow">
        <pc:chgData name="Tony Radkiewicz" userId="9832534a-7e4f-4058-9c41-7f4a5b855c95" providerId="ADAL" clId="{FBE83242-B7ED-4967-8A37-D1BF56425337}" dt="2021-06-09T22:25:53.631" v="976" actId="729"/>
        <pc:sldMkLst>
          <pc:docMk/>
          <pc:sldMk cId="1131263595" sldId="265"/>
        </pc:sldMkLst>
      </pc:sldChg>
      <pc:sldChg chg="mod modShow">
        <pc:chgData name="Tony Radkiewicz" userId="9832534a-7e4f-4058-9c41-7f4a5b855c95" providerId="ADAL" clId="{FBE83242-B7ED-4967-8A37-D1BF56425337}" dt="2021-06-09T22:26:45.665" v="988" actId="729"/>
        <pc:sldMkLst>
          <pc:docMk/>
          <pc:sldMk cId="2524361148" sldId="268"/>
        </pc:sldMkLst>
      </pc:sldChg>
      <pc:sldChg chg="mod ord modShow">
        <pc:chgData name="Tony Radkiewicz" userId="9832534a-7e4f-4058-9c41-7f4a5b855c95" providerId="ADAL" clId="{FBE83242-B7ED-4967-8A37-D1BF56425337}" dt="2021-06-09T22:26:19.341" v="985" actId="729"/>
        <pc:sldMkLst>
          <pc:docMk/>
          <pc:sldMk cId="3291008755" sldId="269"/>
        </pc:sldMkLst>
      </pc:sldChg>
      <pc:sldChg chg="mod modShow">
        <pc:chgData name="Tony Radkiewicz" userId="9832534a-7e4f-4058-9c41-7f4a5b855c95" providerId="ADAL" clId="{FBE83242-B7ED-4967-8A37-D1BF56425337}" dt="2021-06-09T22:29:17.008" v="995" actId="729"/>
        <pc:sldMkLst>
          <pc:docMk/>
          <pc:sldMk cId="2011171795" sldId="270"/>
        </pc:sldMkLst>
      </pc:sldChg>
      <pc:sldChg chg="del">
        <pc:chgData name="Tony Radkiewicz" userId="9832534a-7e4f-4058-9c41-7f4a5b855c95" providerId="ADAL" clId="{FBE83242-B7ED-4967-8A37-D1BF56425337}" dt="2021-06-09T21:20:13.233" v="0" actId="2696"/>
        <pc:sldMkLst>
          <pc:docMk/>
          <pc:sldMk cId="1216265785" sldId="294"/>
        </pc:sldMkLst>
      </pc:sldChg>
      <pc:sldChg chg="mod modShow">
        <pc:chgData name="Tony Radkiewicz" userId="9832534a-7e4f-4058-9c41-7f4a5b855c95" providerId="ADAL" clId="{FBE83242-B7ED-4967-8A37-D1BF56425337}" dt="2021-06-09T22:24:24.699" v="967" actId="729"/>
        <pc:sldMkLst>
          <pc:docMk/>
          <pc:sldMk cId="1780652605" sldId="297"/>
        </pc:sldMkLst>
      </pc:sldChg>
      <pc:sldChg chg="modSp mod">
        <pc:chgData name="Tony Radkiewicz" userId="9832534a-7e4f-4058-9c41-7f4a5b855c95" providerId="ADAL" clId="{FBE83242-B7ED-4967-8A37-D1BF56425337}" dt="2021-06-09T21:52:05.335" v="785" actId="20577"/>
        <pc:sldMkLst>
          <pc:docMk/>
          <pc:sldMk cId="2254668817" sldId="298"/>
        </pc:sldMkLst>
        <pc:spChg chg="mod">
          <ac:chgData name="Tony Radkiewicz" userId="9832534a-7e4f-4058-9c41-7f4a5b855c95" providerId="ADAL" clId="{FBE83242-B7ED-4967-8A37-D1BF56425337}" dt="2021-06-09T21:52:05.335" v="785" actId="20577"/>
          <ac:spMkLst>
            <pc:docMk/>
            <pc:sldMk cId="2254668817" sldId="298"/>
            <ac:spMk id="3" creationId="{5D6B4B5F-C435-4048-9E96-629F8DF98E6D}"/>
          </ac:spMkLst>
        </pc:spChg>
        <pc:graphicFrameChg chg="mod">
          <ac:chgData name="Tony Radkiewicz" userId="9832534a-7e4f-4058-9c41-7f4a5b855c95" providerId="ADAL" clId="{FBE83242-B7ED-4967-8A37-D1BF56425337}" dt="2021-06-09T21:51:27.494" v="768" actId="14100"/>
          <ac:graphicFrameMkLst>
            <pc:docMk/>
            <pc:sldMk cId="2254668817" sldId="298"/>
            <ac:graphicFrameMk id="10" creationId="{9454D9B4-176C-4576-B1F4-DCFC9E9920A3}"/>
          </ac:graphicFrameMkLst>
        </pc:graphicFrameChg>
      </pc:sldChg>
      <pc:sldChg chg="modSp mod modShow">
        <pc:chgData name="Tony Radkiewicz" userId="9832534a-7e4f-4058-9c41-7f4a5b855c95" providerId="ADAL" clId="{FBE83242-B7ED-4967-8A37-D1BF56425337}" dt="2021-06-09T22:26:11.893" v="984" actId="20577"/>
        <pc:sldMkLst>
          <pc:docMk/>
          <pc:sldMk cId="3123952937" sldId="299"/>
        </pc:sldMkLst>
        <pc:spChg chg="mod">
          <ac:chgData name="Tony Radkiewicz" userId="9832534a-7e4f-4058-9c41-7f4a5b855c95" providerId="ADAL" clId="{FBE83242-B7ED-4967-8A37-D1BF56425337}" dt="2021-06-09T22:26:11.893" v="984" actId="20577"/>
          <ac:spMkLst>
            <pc:docMk/>
            <pc:sldMk cId="3123952937" sldId="299"/>
            <ac:spMk id="5" creationId="{CD7AC34A-2A1C-4695-B0AE-C30235314FC8}"/>
          </ac:spMkLst>
        </pc:spChg>
      </pc:sldChg>
      <pc:sldChg chg="modSp mod modShow">
        <pc:chgData name="Tony Radkiewicz" userId="9832534a-7e4f-4058-9c41-7f4a5b855c95" providerId="ADAL" clId="{FBE83242-B7ED-4967-8A37-D1BF56425337}" dt="2021-06-09T22:25:56.832" v="977" actId="729"/>
        <pc:sldMkLst>
          <pc:docMk/>
          <pc:sldMk cId="2901526890" sldId="300"/>
        </pc:sldMkLst>
        <pc:spChg chg="mod">
          <ac:chgData name="Tony Radkiewicz" userId="9832534a-7e4f-4058-9c41-7f4a5b855c95" providerId="ADAL" clId="{FBE83242-B7ED-4967-8A37-D1BF56425337}" dt="2021-06-09T21:57:08.929" v="899" actId="20577"/>
          <ac:spMkLst>
            <pc:docMk/>
            <pc:sldMk cId="2901526890" sldId="300"/>
            <ac:spMk id="5" creationId="{CD7AC34A-2A1C-4695-B0AE-C30235314FC8}"/>
          </ac:spMkLst>
        </pc:spChg>
      </pc:sldChg>
      <pc:sldChg chg="modSp mod">
        <pc:chgData name="Tony Radkiewicz" userId="9832534a-7e4f-4058-9c41-7f4a5b855c95" providerId="ADAL" clId="{FBE83242-B7ED-4967-8A37-D1BF56425337}" dt="2021-06-09T22:19:10.738" v="908"/>
        <pc:sldMkLst>
          <pc:docMk/>
          <pc:sldMk cId="1289176943" sldId="301"/>
        </pc:sldMkLst>
        <pc:graphicFrameChg chg="mod modGraphic">
          <ac:chgData name="Tony Radkiewicz" userId="9832534a-7e4f-4058-9c41-7f4a5b855c95" providerId="ADAL" clId="{FBE83242-B7ED-4967-8A37-D1BF56425337}" dt="2021-06-09T22:19:10.738" v="908"/>
          <ac:graphicFrameMkLst>
            <pc:docMk/>
            <pc:sldMk cId="1289176943" sldId="301"/>
            <ac:graphicFrameMk id="7" creationId="{465E6EE7-B2EC-4BC8-8EF1-3DE5BCBC3FFF}"/>
          </ac:graphicFrameMkLst>
        </pc:graphicFrameChg>
        <pc:graphicFrameChg chg="mod modGraphic">
          <ac:chgData name="Tony Radkiewicz" userId="9832534a-7e4f-4058-9c41-7f4a5b855c95" providerId="ADAL" clId="{FBE83242-B7ED-4967-8A37-D1BF56425337}" dt="2021-06-09T22:19:07.136" v="906" actId="20577"/>
          <ac:graphicFrameMkLst>
            <pc:docMk/>
            <pc:sldMk cId="1289176943" sldId="301"/>
            <ac:graphicFrameMk id="27" creationId="{4D5E4497-53E5-400A-9D59-B2E7A72A6E93}"/>
          </ac:graphicFrameMkLst>
        </pc:graphicFrameChg>
      </pc:sldChg>
      <pc:sldChg chg="modSp mod ord modCm">
        <pc:chgData name="Tony Radkiewicz" userId="9832534a-7e4f-4058-9c41-7f4a5b855c95" providerId="ADAL" clId="{FBE83242-B7ED-4967-8A37-D1BF56425337}" dt="2021-06-09T22:21:49.908" v="960"/>
        <pc:sldMkLst>
          <pc:docMk/>
          <pc:sldMk cId="2637085186" sldId="302"/>
        </pc:sldMkLst>
        <pc:graphicFrameChg chg="modGraphic">
          <ac:chgData name="Tony Radkiewicz" userId="9832534a-7e4f-4058-9c41-7f4a5b855c95" providerId="ADAL" clId="{FBE83242-B7ED-4967-8A37-D1BF56425337}" dt="2021-06-09T22:20:49.458" v="956" actId="20577"/>
          <ac:graphicFrameMkLst>
            <pc:docMk/>
            <pc:sldMk cId="2637085186" sldId="302"/>
            <ac:graphicFrameMk id="6" creationId="{F25488A8-49AC-4416-AB84-CA82031319EA}"/>
          </ac:graphicFrameMkLst>
        </pc:graphicFrameChg>
      </pc:sldChg>
      <pc:sldChg chg="modSp mod">
        <pc:chgData name="Tony Radkiewicz" userId="9832534a-7e4f-4058-9c41-7f4a5b855c95" providerId="ADAL" clId="{FBE83242-B7ED-4967-8A37-D1BF56425337}" dt="2021-06-09T22:19:25.942" v="916" actId="20577"/>
        <pc:sldMkLst>
          <pc:docMk/>
          <pc:sldMk cId="2922585470" sldId="310"/>
        </pc:sldMkLst>
        <pc:graphicFrameChg chg="mod modGraphic">
          <ac:chgData name="Tony Radkiewicz" userId="9832534a-7e4f-4058-9c41-7f4a5b855c95" providerId="ADAL" clId="{FBE83242-B7ED-4967-8A37-D1BF56425337}" dt="2021-06-09T22:19:22.165" v="914"/>
          <ac:graphicFrameMkLst>
            <pc:docMk/>
            <pc:sldMk cId="2922585470" sldId="310"/>
            <ac:graphicFrameMk id="7" creationId="{465E6EE7-B2EC-4BC8-8EF1-3DE5BCBC3FFF}"/>
          </ac:graphicFrameMkLst>
        </pc:graphicFrameChg>
        <pc:graphicFrameChg chg="modGraphic">
          <ac:chgData name="Tony Radkiewicz" userId="9832534a-7e4f-4058-9c41-7f4a5b855c95" providerId="ADAL" clId="{FBE83242-B7ED-4967-8A37-D1BF56425337}" dt="2021-06-09T22:19:25.942" v="916" actId="20577"/>
          <ac:graphicFrameMkLst>
            <pc:docMk/>
            <pc:sldMk cId="2922585470" sldId="310"/>
            <ac:graphicFrameMk id="27" creationId="{4D5E4497-53E5-400A-9D59-B2E7A72A6E93}"/>
          </ac:graphicFrameMkLst>
        </pc:graphicFrameChg>
      </pc:sldChg>
      <pc:sldChg chg="modSp mod">
        <pc:chgData name="Tony Radkiewicz" userId="9832534a-7e4f-4058-9c41-7f4a5b855c95" providerId="ADAL" clId="{FBE83242-B7ED-4967-8A37-D1BF56425337}" dt="2021-06-09T22:19:38.084" v="922" actId="20577"/>
        <pc:sldMkLst>
          <pc:docMk/>
          <pc:sldMk cId="1028743727" sldId="311"/>
        </pc:sldMkLst>
        <pc:graphicFrameChg chg="mod modGraphic">
          <ac:chgData name="Tony Radkiewicz" userId="9832534a-7e4f-4058-9c41-7f4a5b855c95" providerId="ADAL" clId="{FBE83242-B7ED-4967-8A37-D1BF56425337}" dt="2021-06-09T22:19:33.780" v="920"/>
          <ac:graphicFrameMkLst>
            <pc:docMk/>
            <pc:sldMk cId="1028743727" sldId="311"/>
            <ac:graphicFrameMk id="7" creationId="{465E6EE7-B2EC-4BC8-8EF1-3DE5BCBC3FFF}"/>
          </ac:graphicFrameMkLst>
        </pc:graphicFrameChg>
        <pc:graphicFrameChg chg="modGraphic">
          <ac:chgData name="Tony Radkiewicz" userId="9832534a-7e4f-4058-9c41-7f4a5b855c95" providerId="ADAL" clId="{FBE83242-B7ED-4967-8A37-D1BF56425337}" dt="2021-06-09T22:19:38.084" v="922" actId="20577"/>
          <ac:graphicFrameMkLst>
            <pc:docMk/>
            <pc:sldMk cId="1028743727" sldId="311"/>
            <ac:graphicFrameMk id="27" creationId="{4D5E4497-53E5-400A-9D59-B2E7A72A6E93}"/>
          </ac:graphicFrameMkLst>
        </pc:graphicFrameChg>
      </pc:sldChg>
      <pc:sldChg chg="modSp mod ord modShow">
        <pc:chgData name="Tony Radkiewicz" userId="9832534a-7e4f-4058-9c41-7f4a5b855c95" providerId="ADAL" clId="{FBE83242-B7ED-4967-8A37-D1BF56425337}" dt="2021-06-09T22:26:24.273" v="986" actId="729"/>
        <pc:sldMkLst>
          <pc:docMk/>
          <pc:sldMk cId="2324468770" sldId="312"/>
        </pc:sldMkLst>
        <pc:graphicFrameChg chg="mod">
          <ac:chgData name="Tony Radkiewicz" userId="9832534a-7e4f-4058-9c41-7f4a5b855c95" providerId="ADAL" clId="{FBE83242-B7ED-4967-8A37-D1BF56425337}" dt="2021-06-09T22:20:57.652" v="957"/>
          <ac:graphicFrameMkLst>
            <pc:docMk/>
            <pc:sldMk cId="2324468770" sldId="312"/>
            <ac:graphicFrameMk id="6" creationId="{F25488A8-49AC-4416-AB84-CA82031319EA}"/>
          </ac:graphicFrameMkLst>
        </pc:graphicFrameChg>
      </pc:sldChg>
      <pc:sldChg chg="modSp ord">
        <pc:chgData name="Tony Radkiewicz" userId="9832534a-7e4f-4058-9c41-7f4a5b855c95" providerId="ADAL" clId="{FBE83242-B7ED-4967-8A37-D1BF56425337}" dt="2021-06-09T22:21:03.943" v="958"/>
        <pc:sldMkLst>
          <pc:docMk/>
          <pc:sldMk cId="2645410879" sldId="313"/>
        </pc:sldMkLst>
        <pc:graphicFrameChg chg="mod">
          <ac:chgData name="Tony Radkiewicz" userId="9832534a-7e4f-4058-9c41-7f4a5b855c95" providerId="ADAL" clId="{FBE83242-B7ED-4967-8A37-D1BF56425337}" dt="2021-06-09T22:21:03.943" v="958"/>
          <ac:graphicFrameMkLst>
            <pc:docMk/>
            <pc:sldMk cId="2645410879" sldId="313"/>
            <ac:graphicFrameMk id="6" creationId="{F25488A8-49AC-4416-AB84-CA82031319EA}"/>
          </ac:graphicFrameMkLst>
        </pc:graphicFrameChg>
      </pc:sldChg>
      <pc:sldChg chg="del ord">
        <pc:chgData name="Tony Radkiewicz" userId="9832534a-7e4f-4058-9c41-7f4a5b855c95" providerId="ADAL" clId="{FBE83242-B7ED-4967-8A37-D1BF56425337}" dt="2021-06-09T22:21:10.684" v="959" actId="2696"/>
        <pc:sldMkLst>
          <pc:docMk/>
          <pc:sldMk cId="3581202429" sldId="314"/>
        </pc:sldMkLst>
      </pc:sldChg>
      <pc:sldChg chg="modSp mod modShow">
        <pc:chgData name="Tony Radkiewicz" userId="9832534a-7e4f-4058-9c41-7f4a5b855c95" providerId="ADAL" clId="{FBE83242-B7ED-4967-8A37-D1BF56425337}" dt="2021-06-09T22:27:25.622" v="991" actId="255"/>
        <pc:sldMkLst>
          <pc:docMk/>
          <pc:sldMk cId="3597134556" sldId="315"/>
        </pc:sldMkLst>
        <pc:graphicFrameChg chg="mod">
          <ac:chgData name="Tony Radkiewicz" userId="9832534a-7e4f-4058-9c41-7f4a5b855c95" providerId="ADAL" clId="{FBE83242-B7ED-4967-8A37-D1BF56425337}" dt="2021-06-09T22:27:07.177" v="989" actId="255"/>
          <ac:graphicFrameMkLst>
            <pc:docMk/>
            <pc:sldMk cId="3597134556" sldId="315"/>
            <ac:graphicFrameMk id="4" creationId="{B21FDB19-1260-4031-B557-015C70741C78}"/>
          </ac:graphicFrameMkLst>
        </pc:graphicFrameChg>
        <pc:graphicFrameChg chg="mod modGraphic">
          <ac:chgData name="Tony Radkiewicz" userId="9832534a-7e4f-4058-9c41-7f4a5b855c95" providerId="ADAL" clId="{FBE83242-B7ED-4967-8A37-D1BF56425337}" dt="2021-06-09T22:27:18.981" v="990" actId="255"/>
          <ac:graphicFrameMkLst>
            <pc:docMk/>
            <pc:sldMk cId="3597134556" sldId="315"/>
            <ac:graphicFrameMk id="7" creationId="{465E6EE7-B2EC-4BC8-8EF1-3DE5BCBC3FFF}"/>
          </ac:graphicFrameMkLst>
        </pc:graphicFrameChg>
        <pc:graphicFrameChg chg="mod modGraphic">
          <ac:chgData name="Tony Radkiewicz" userId="9832534a-7e4f-4058-9c41-7f4a5b855c95" providerId="ADAL" clId="{FBE83242-B7ED-4967-8A37-D1BF56425337}" dt="2021-06-09T22:27:25.622" v="991" actId="255"/>
          <ac:graphicFrameMkLst>
            <pc:docMk/>
            <pc:sldMk cId="3597134556" sldId="315"/>
            <ac:graphicFrameMk id="27" creationId="{4D5E4497-53E5-400A-9D59-B2E7A72A6E93}"/>
          </ac:graphicFrameMkLst>
        </pc:graphicFrameChg>
      </pc:sldChg>
      <pc:sldChg chg="mod modShow">
        <pc:chgData name="Tony Radkiewicz" userId="9832534a-7e4f-4058-9c41-7f4a5b855c95" providerId="ADAL" clId="{FBE83242-B7ED-4967-8A37-D1BF56425337}" dt="2021-06-09T22:29:12.334" v="994" actId="729"/>
        <pc:sldMkLst>
          <pc:docMk/>
          <pc:sldMk cId="836303966" sldId="316"/>
        </pc:sldMkLst>
      </pc:sldChg>
      <pc:sldChg chg="mod modShow">
        <pc:chgData name="Tony Radkiewicz" userId="9832534a-7e4f-4058-9c41-7f4a5b855c95" providerId="ADAL" clId="{FBE83242-B7ED-4967-8A37-D1BF56425337}" dt="2021-06-09T22:29:08.109" v="993" actId="729"/>
        <pc:sldMkLst>
          <pc:docMk/>
          <pc:sldMk cId="3560050542" sldId="318"/>
        </pc:sldMkLst>
      </pc:sldChg>
      <pc:sldChg chg="modSp del mod">
        <pc:chgData name="Tony Radkiewicz" userId="9832534a-7e4f-4058-9c41-7f4a5b855c95" providerId="ADAL" clId="{FBE83242-B7ED-4967-8A37-D1BF56425337}" dt="2021-06-09T21:23:21.797" v="30" actId="47"/>
        <pc:sldMkLst>
          <pc:docMk/>
          <pc:sldMk cId="2916827937" sldId="323"/>
        </pc:sldMkLst>
        <pc:spChg chg="mod">
          <ac:chgData name="Tony Radkiewicz" userId="9832534a-7e4f-4058-9c41-7f4a5b855c95" providerId="ADAL" clId="{FBE83242-B7ED-4967-8A37-D1BF56425337}" dt="2021-06-09T21:21:48.374" v="3" actId="14100"/>
          <ac:spMkLst>
            <pc:docMk/>
            <pc:sldMk cId="2916827937" sldId="323"/>
            <ac:spMk id="3" creationId="{9E2AFA09-5E05-47FA-A3E9-BE4CDD21A6A9}"/>
          </ac:spMkLst>
        </pc:spChg>
        <pc:graphicFrameChg chg="mod">
          <ac:chgData name="Tony Radkiewicz" userId="9832534a-7e4f-4058-9c41-7f4a5b855c95" providerId="ADAL" clId="{FBE83242-B7ED-4967-8A37-D1BF56425337}" dt="2021-06-09T21:21:45.050" v="2" actId="14100"/>
          <ac:graphicFrameMkLst>
            <pc:docMk/>
            <pc:sldMk cId="2916827937" sldId="323"/>
            <ac:graphicFrameMk id="10" creationId="{9D86BC91-38BB-4CC5-AE9B-7878AD82DFAE}"/>
          </ac:graphicFrameMkLst>
        </pc:graphicFrameChg>
      </pc:sldChg>
      <pc:sldChg chg="del">
        <pc:chgData name="Tony Radkiewicz" userId="9832534a-7e4f-4058-9c41-7f4a5b855c95" providerId="ADAL" clId="{FBE83242-B7ED-4967-8A37-D1BF56425337}" dt="2021-06-09T21:21:58.296" v="4" actId="2696"/>
        <pc:sldMkLst>
          <pc:docMk/>
          <pc:sldMk cId="3775515087" sldId="324"/>
        </pc:sldMkLst>
      </pc:sldChg>
      <pc:sldChg chg="add mod modShow">
        <pc:chgData name="Tony Radkiewicz" userId="9832534a-7e4f-4058-9c41-7f4a5b855c95" providerId="ADAL" clId="{FBE83242-B7ED-4967-8A37-D1BF56425337}" dt="2021-06-09T22:23:46.069" v="963" actId="729"/>
        <pc:sldMkLst>
          <pc:docMk/>
          <pc:sldMk cId="3936713191" sldId="325"/>
        </pc:sldMkLst>
      </pc:sldChg>
      <pc:sldChg chg="modSp add mod modShow addCm">
        <pc:chgData name="Tony Radkiewicz" userId="9832534a-7e4f-4058-9c41-7f4a5b855c95" providerId="ADAL" clId="{FBE83242-B7ED-4967-8A37-D1BF56425337}" dt="2021-06-09T22:24:05.822" v="965" actId="729"/>
        <pc:sldMkLst>
          <pc:docMk/>
          <pc:sldMk cId="3759446084" sldId="326"/>
        </pc:sldMkLst>
        <pc:spChg chg="mod">
          <ac:chgData name="Tony Radkiewicz" userId="9832534a-7e4f-4058-9c41-7f4a5b855c95" providerId="ADAL" clId="{FBE83242-B7ED-4967-8A37-D1BF56425337}" dt="2021-06-09T21:22:58.606" v="22" actId="1076"/>
          <ac:spMkLst>
            <pc:docMk/>
            <pc:sldMk cId="3759446084" sldId="326"/>
            <ac:spMk id="3" creationId="{9E2AFA09-5E05-47FA-A3E9-BE4CDD21A6A9}"/>
          </ac:spMkLst>
        </pc:spChg>
        <pc:graphicFrameChg chg="mod">
          <ac:chgData name="Tony Radkiewicz" userId="9832534a-7e4f-4058-9c41-7f4a5b855c95" providerId="ADAL" clId="{FBE83242-B7ED-4967-8A37-D1BF56425337}" dt="2021-06-09T22:23:58.141" v="964" actId="255"/>
          <ac:graphicFrameMkLst>
            <pc:docMk/>
            <pc:sldMk cId="3759446084" sldId="326"/>
            <ac:graphicFrameMk id="10" creationId="{9D86BC91-38BB-4CC5-AE9B-7878AD82DFAE}"/>
          </ac:graphicFrameMkLst>
        </pc:graphicFrameChg>
      </pc:sldChg>
      <pc:sldChg chg="modSp add mod">
        <pc:chgData name="Tony Radkiewicz" userId="9832534a-7e4f-4058-9c41-7f4a5b855c95" providerId="ADAL" clId="{FBE83242-B7ED-4967-8A37-D1BF56425337}" dt="2021-06-09T21:24:35.845" v="87" actId="14100"/>
        <pc:sldMkLst>
          <pc:docMk/>
          <pc:sldMk cId="962167628" sldId="327"/>
        </pc:sldMkLst>
        <pc:spChg chg="mod">
          <ac:chgData name="Tony Radkiewicz" userId="9832534a-7e4f-4058-9c41-7f4a5b855c95" providerId="ADAL" clId="{FBE83242-B7ED-4967-8A37-D1BF56425337}" dt="2021-06-09T21:24:24.967" v="76" actId="1076"/>
          <ac:spMkLst>
            <pc:docMk/>
            <pc:sldMk cId="962167628" sldId="327"/>
            <ac:spMk id="3" creationId="{9E2AFA09-5E05-47FA-A3E9-BE4CDD21A6A9}"/>
          </ac:spMkLst>
        </pc:spChg>
        <pc:graphicFrameChg chg="mod">
          <ac:chgData name="Tony Radkiewicz" userId="9832534a-7e4f-4058-9c41-7f4a5b855c95" providerId="ADAL" clId="{FBE83242-B7ED-4967-8A37-D1BF56425337}" dt="2021-06-09T21:24:35.845" v="87" actId="14100"/>
          <ac:graphicFrameMkLst>
            <pc:docMk/>
            <pc:sldMk cId="962167628" sldId="327"/>
            <ac:graphicFrameMk id="10" creationId="{9D86BC91-38BB-4CC5-AE9B-7878AD82DFAE}"/>
          </ac:graphicFrameMkLst>
        </pc:graphicFrameChg>
      </pc:sldChg>
      <pc:sldChg chg="addSp modSp add mod modShow addCm">
        <pc:chgData name="Tony Radkiewicz" userId="9832534a-7e4f-4058-9c41-7f4a5b855c95" providerId="ADAL" clId="{FBE83242-B7ED-4967-8A37-D1BF56425337}" dt="2021-06-09T22:24:33.386" v="968" actId="255"/>
        <pc:sldMkLst>
          <pc:docMk/>
          <pc:sldMk cId="2565933029" sldId="328"/>
        </pc:sldMkLst>
        <pc:spChg chg="mod">
          <ac:chgData name="Tony Radkiewicz" userId="9832534a-7e4f-4058-9c41-7f4a5b855c95" providerId="ADAL" clId="{FBE83242-B7ED-4967-8A37-D1BF56425337}" dt="2021-06-09T21:50:48.593" v="761" actId="20577"/>
          <ac:spMkLst>
            <pc:docMk/>
            <pc:sldMk cId="2565933029" sldId="328"/>
            <ac:spMk id="3" creationId="{0EE12E86-6E5D-48F0-B80F-20EBE303209E}"/>
          </ac:spMkLst>
        </pc:spChg>
        <pc:spChg chg="add mod">
          <ac:chgData name="Tony Radkiewicz" userId="9832534a-7e4f-4058-9c41-7f4a5b855c95" providerId="ADAL" clId="{FBE83242-B7ED-4967-8A37-D1BF56425337}" dt="2021-06-09T21:50:59.594" v="762" actId="20577"/>
          <ac:spMkLst>
            <pc:docMk/>
            <pc:sldMk cId="2565933029" sldId="328"/>
            <ac:spMk id="4" creationId="{7E656016-FE81-4FDA-87F1-E1C9128B4C20}"/>
          </ac:spMkLst>
        </pc:spChg>
        <pc:graphicFrameChg chg="mod">
          <ac:chgData name="Tony Radkiewicz" userId="9832534a-7e4f-4058-9c41-7f4a5b855c95" providerId="ADAL" clId="{FBE83242-B7ED-4967-8A37-D1BF56425337}" dt="2021-06-09T22:24:33.386" v="968" actId="255"/>
          <ac:graphicFrameMkLst>
            <pc:docMk/>
            <pc:sldMk cId="2565933029" sldId="328"/>
            <ac:graphicFrameMk id="9" creationId="{484138B8-E1EA-4320-AFFC-374584BF065F}"/>
          </ac:graphicFrameMkLst>
        </pc:graphicFrameChg>
      </pc:sldChg>
      <pc:sldChg chg="addSp modSp add mod modShow addCm">
        <pc:chgData name="Tony Radkiewicz" userId="9832534a-7e4f-4058-9c41-7f4a5b855c95" providerId="ADAL" clId="{FBE83242-B7ED-4967-8A37-D1BF56425337}" dt="2021-06-09T22:25:08.245" v="974" actId="729"/>
        <pc:sldMkLst>
          <pc:docMk/>
          <pc:sldMk cId="2228872839" sldId="329"/>
        </pc:sldMkLst>
        <pc:spChg chg="mod">
          <ac:chgData name="Tony Radkiewicz" userId="9832534a-7e4f-4058-9c41-7f4a5b855c95" providerId="ADAL" clId="{FBE83242-B7ED-4967-8A37-D1BF56425337}" dt="2021-06-09T21:54:06.850" v="869" actId="1076"/>
          <ac:spMkLst>
            <pc:docMk/>
            <pc:sldMk cId="2228872839" sldId="329"/>
            <ac:spMk id="3" creationId="{5D6B4B5F-C435-4048-9E96-629F8DF98E6D}"/>
          </ac:spMkLst>
        </pc:spChg>
        <pc:spChg chg="add mod">
          <ac:chgData name="Tony Radkiewicz" userId="9832534a-7e4f-4058-9c41-7f4a5b855c95" providerId="ADAL" clId="{FBE83242-B7ED-4967-8A37-D1BF56425337}" dt="2021-06-09T22:25:02.921" v="973" actId="14100"/>
          <ac:spMkLst>
            <pc:docMk/>
            <pc:sldMk cId="2228872839" sldId="329"/>
            <ac:spMk id="4" creationId="{59911006-B657-458A-BF16-0404606A0E4C}"/>
          </ac:spMkLst>
        </pc:spChg>
      </pc:sldChg>
      <pc:sldChg chg="addSp delSp modSp add mod">
        <pc:chgData name="Tony Radkiewicz" userId="9832534a-7e4f-4058-9c41-7f4a5b855c95" providerId="ADAL" clId="{FBE83242-B7ED-4967-8A37-D1BF56425337}" dt="2021-06-09T23:04:10.585" v="1274" actId="6549"/>
        <pc:sldMkLst>
          <pc:docMk/>
          <pc:sldMk cId="2221525106" sldId="330"/>
        </pc:sldMkLst>
        <pc:spChg chg="add del mod">
          <ac:chgData name="Tony Radkiewicz" userId="9832534a-7e4f-4058-9c41-7f4a5b855c95" providerId="ADAL" clId="{FBE83242-B7ED-4967-8A37-D1BF56425337}" dt="2021-06-09T23:00:53.688" v="1019" actId="12084"/>
          <ac:spMkLst>
            <pc:docMk/>
            <pc:sldMk cId="2221525106" sldId="330"/>
            <ac:spMk id="2" creationId="{1D6E7531-F38B-4F6D-BC3B-E0E7962551EC}"/>
          </ac:spMkLst>
        </pc:spChg>
        <pc:spChg chg="mod">
          <ac:chgData name="Tony Radkiewicz" userId="9832534a-7e4f-4058-9c41-7f4a5b855c95" providerId="ADAL" clId="{FBE83242-B7ED-4967-8A37-D1BF56425337}" dt="2021-06-09T23:04:10.585" v="1274" actId="6549"/>
          <ac:spMkLst>
            <pc:docMk/>
            <pc:sldMk cId="2221525106" sldId="330"/>
            <ac:spMk id="3" creationId="{276763AC-E01B-45D0-806A-1F2948DFF0A8}"/>
          </ac:spMkLst>
        </pc:spChg>
        <pc:spChg chg="add mod">
          <ac:chgData name="Tony Radkiewicz" userId="9832534a-7e4f-4058-9c41-7f4a5b855c95" providerId="ADAL" clId="{FBE83242-B7ED-4967-8A37-D1BF56425337}" dt="2021-06-09T23:03:51.736" v="1267" actId="20577"/>
          <ac:spMkLst>
            <pc:docMk/>
            <pc:sldMk cId="2221525106" sldId="330"/>
            <ac:spMk id="6" creationId="{8D7DD5BE-77DB-495A-B1AE-1384580FB307}"/>
          </ac:spMkLst>
        </pc:spChg>
        <pc:graphicFrameChg chg="del">
          <ac:chgData name="Tony Radkiewicz" userId="9832534a-7e4f-4058-9c41-7f4a5b855c95" providerId="ADAL" clId="{FBE83242-B7ED-4967-8A37-D1BF56425337}" dt="2021-06-09T22:36:32.418" v="997" actId="11529"/>
          <ac:graphicFrameMkLst>
            <pc:docMk/>
            <pc:sldMk cId="2221525106" sldId="330"/>
            <ac:graphicFrameMk id="4" creationId="{BBE0AC0A-A34C-4558-9DA5-EF4FBB610548}"/>
          </ac:graphicFrameMkLst>
        </pc:graphicFrameChg>
        <pc:graphicFrameChg chg="add mod">
          <ac:chgData name="Tony Radkiewicz" userId="9832534a-7e4f-4058-9c41-7f4a5b855c95" providerId="ADAL" clId="{FBE83242-B7ED-4967-8A37-D1BF56425337}" dt="2021-06-09T23:03:56.794" v="1268" actId="14100"/>
          <ac:graphicFrameMkLst>
            <pc:docMk/>
            <pc:sldMk cId="2221525106" sldId="330"/>
            <ac:graphicFrameMk id="5" creationId="{5F9C3BDE-9FD9-4CAA-B582-1568F015BD7D}"/>
          </ac:graphicFrameMkLst>
        </pc:graphicFrameChg>
      </pc:sldChg>
    </pc:docChg>
  </pc:docChgLst>
  <pc:docChgLst>
    <pc:chgData name="Tony Radkiewicz" userId="9832534a-7e4f-4058-9c41-7f4a5b855c95" providerId="ADAL" clId="{FCA77D62-6A33-429D-920B-15BC657DEB14}"/>
    <pc:docChg chg="undo redo custSel addSld delSld modSld sldOrd modSection">
      <pc:chgData name="Tony Radkiewicz" userId="9832534a-7e4f-4058-9c41-7f4a5b855c95" providerId="ADAL" clId="{FCA77D62-6A33-429D-920B-15BC657DEB14}" dt="2021-03-29T21:06:27.577" v="2273"/>
      <pc:docMkLst>
        <pc:docMk/>
      </pc:docMkLst>
      <pc:sldChg chg="addSp delSp modSp mod addCm">
        <pc:chgData name="Tony Radkiewicz" userId="9832534a-7e4f-4058-9c41-7f4a5b855c95" providerId="ADAL" clId="{FCA77D62-6A33-429D-920B-15BC657DEB14}" dt="2021-03-26T18:52:07.945" v="335"/>
        <pc:sldMkLst>
          <pc:docMk/>
          <pc:sldMk cId="368875999" sldId="259"/>
        </pc:sldMkLst>
        <pc:spChg chg="del mod">
          <ac:chgData name="Tony Radkiewicz" userId="9832534a-7e4f-4058-9c41-7f4a5b855c95" providerId="ADAL" clId="{FCA77D62-6A33-429D-920B-15BC657DEB14}" dt="2021-03-26T18:32:13.226" v="128" actId="12084"/>
          <ac:spMkLst>
            <pc:docMk/>
            <pc:sldMk cId="368875999" sldId="259"/>
            <ac:spMk id="3" creationId="{00000000-0000-0000-0000-000000000000}"/>
          </ac:spMkLst>
        </pc:spChg>
        <pc:spChg chg="mod">
          <ac:chgData name="Tony Radkiewicz" userId="9832534a-7e4f-4058-9c41-7f4a5b855c95" providerId="ADAL" clId="{FCA77D62-6A33-429D-920B-15BC657DEB14}" dt="2021-03-26T18:44:08.937" v="194" actId="2711"/>
          <ac:spMkLst>
            <pc:docMk/>
            <pc:sldMk cId="368875999" sldId="259"/>
            <ac:spMk id="5" creationId="{7A2054FB-270A-47D3-A208-679F30861119}"/>
          </ac:spMkLst>
        </pc:spChg>
        <pc:graphicFrameChg chg="add mod">
          <ac:chgData name="Tony Radkiewicz" userId="9832534a-7e4f-4058-9c41-7f4a5b855c95" providerId="ADAL" clId="{FCA77D62-6A33-429D-920B-15BC657DEB14}" dt="2021-03-26T18:36:57.562" v="133" actId="13782"/>
          <ac:graphicFrameMkLst>
            <pc:docMk/>
            <pc:sldMk cId="368875999" sldId="259"/>
            <ac:graphicFrameMk id="4" creationId="{5F369B96-6A26-460F-98E6-87511A648C95}"/>
          </ac:graphicFrameMkLst>
        </pc:graphicFrameChg>
      </pc:sldChg>
      <pc:sldChg chg="addSp delSp modSp mod ord addCm modCm">
        <pc:chgData name="Tony Radkiewicz" userId="9832534a-7e4f-4058-9c41-7f4a5b855c95" providerId="ADAL" clId="{FCA77D62-6A33-429D-920B-15BC657DEB14}" dt="2021-03-29T20:53:31.715" v="2221"/>
        <pc:sldMkLst>
          <pc:docMk/>
          <pc:sldMk cId="3569284726" sldId="260"/>
        </pc:sldMkLst>
        <pc:spChg chg="mod ord">
          <ac:chgData name="Tony Radkiewicz" userId="9832534a-7e4f-4058-9c41-7f4a5b855c95" providerId="ADAL" clId="{FCA77D62-6A33-429D-920B-15BC657DEB14}" dt="2021-03-26T18:57:26.565" v="439" actId="3064"/>
          <ac:spMkLst>
            <pc:docMk/>
            <pc:sldMk cId="3569284726" sldId="260"/>
            <ac:spMk id="3" creationId="{54F21ED9-442A-4AB8-8B92-2DD17B7330C4}"/>
          </ac:spMkLst>
        </pc:spChg>
        <pc:spChg chg="del">
          <ac:chgData name="Tony Radkiewicz" userId="9832534a-7e4f-4058-9c41-7f4a5b855c95" providerId="ADAL" clId="{FCA77D62-6A33-429D-920B-15BC657DEB14}" dt="2021-03-26T15:16:58.064" v="21" actId="478"/>
          <ac:spMkLst>
            <pc:docMk/>
            <pc:sldMk cId="3569284726" sldId="260"/>
            <ac:spMk id="4" creationId="{F6A2E1FA-F453-4250-B8EB-ABA7D175DEBD}"/>
          </ac:spMkLst>
        </pc:spChg>
        <pc:spChg chg="mod ord">
          <ac:chgData name="Tony Radkiewicz" userId="9832534a-7e4f-4058-9c41-7f4a5b855c95" providerId="ADAL" clId="{FCA77D62-6A33-429D-920B-15BC657DEB14}" dt="2021-03-26T18:57:56.071" v="480" actId="14100"/>
          <ac:spMkLst>
            <pc:docMk/>
            <pc:sldMk cId="3569284726" sldId="260"/>
            <ac:spMk id="5" creationId="{7A323F01-E0A7-479E-B420-5CBA9214F796}"/>
          </ac:spMkLst>
        </pc:spChg>
        <pc:spChg chg="add mod">
          <ac:chgData name="Tony Radkiewicz" userId="9832534a-7e4f-4058-9c41-7f4a5b855c95" providerId="ADAL" clId="{FCA77D62-6A33-429D-920B-15BC657DEB14}" dt="2021-03-26T18:56:46.604" v="414" actId="3064"/>
          <ac:spMkLst>
            <pc:docMk/>
            <pc:sldMk cId="3569284726" sldId="260"/>
            <ac:spMk id="6" creationId="{3F666868-7B10-45F2-86C5-F04B0A027EAC}"/>
          </ac:spMkLst>
        </pc:spChg>
        <pc:spChg chg="add mod">
          <ac:chgData name="Tony Radkiewicz" userId="9832534a-7e4f-4058-9c41-7f4a5b855c95" providerId="ADAL" clId="{FCA77D62-6A33-429D-920B-15BC657DEB14}" dt="2021-03-26T18:56:41.762" v="412" actId="3064"/>
          <ac:spMkLst>
            <pc:docMk/>
            <pc:sldMk cId="3569284726" sldId="260"/>
            <ac:spMk id="7" creationId="{461F805A-0609-4D25-A622-580795D4F27F}"/>
          </ac:spMkLst>
        </pc:spChg>
        <pc:spChg chg="del mod">
          <ac:chgData name="Tony Radkiewicz" userId="9832534a-7e4f-4058-9c41-7f4a5b855c95" providerId="ADAL" clId="{FCA77D62-6A33-429D-920B-15BC657DEB14}" dt="2021-03-26T18:53:42.786" v="355" actId="478"/>
          <ac:spMkLst>
            <pc:docMk/>
            <pc:sldMk cId="3569284726" sldId="260"/>
            <ac:spMk id="8" creationId="{BF4275C1-7A79-46E0-BDCA-3043B802FFB8}"/>
          </ac:spMkLst>
        </pc:spChg>
        <pc:spChg chg="del mod">
          <ac:chgData name="Tony Radkiewicz" userId="9832534a-7e4f-4058-9c41-7f4a5b855c95" providerId="ADAL" clId="{FCA77D62-6A33-429D-920B-15BC657DEB14}" dt="2021-03-26T18:54:22.743" v="361" actId="478"/>
          <ac:spMkLst>
            <pc:docMk/>
            <pc:sldMk cId="3569284726" sldId="260"/>
            <ac:spMk id="9" creationId="{12769EAF-1F9B-4E5C-8F82-CF09170BA063}"/>
          </ac:spMkLst>
        </pc:spChg>
      </pc:sldChg>
      <pc:sldChg chg="addSp delSp modSp mod addCm modCm">
        <pc:chgData name="Tony Radkiewicz" userId="9832534a-7e4f-4058-9c41-7f4a5b855c95" providerId="ADAL" clId="{FCA77D62-6A33-429D-920B-15BC657DEB14}" dt="2021-03-26T19:56:03.114" v="688" actId="108"/>
        <pc:sldMkLst>
          <pc:docMk/>
          <pc:sldMk cId="3634448245" sldId="261"/>
        </pc:sldMkLst>
        <pc:spChg chg="add del">
          <ac:chgData name="Tony Radkiewicz" userId="9832534a-7e4f-4058-9c41-7f4a5b855c95" providerId="ADAL" clId="{FCA77D62-6A33-429D-920B-15BC657DEB14}" dt="2021-03-26T18:58:57.796" v="486" actId="22"/>
          <ac:spMkLst>
            <pc:docMk/>
            <pc:sldMk cId="3634448245" sldId="261"/>
            <ac:spMk id="3" creationId="{76FB8A61-910A-440B-9130-9FFD10CD2D3A}"/>
          </ac:spMkLst>
        </pc:spChg>
        <pc:spChg chg="add del mod">
          <ac:chgData name="Tony Radkiewicz" userId="9832534a-7e4f-4058-9c41-7f4a5b855c95" providerId="ADAL" clId="{FCA77D62-6A33-429D-920B-15BC657DEB14}" dt="2021-03-26T19:07:17.897" v="603" actId="478"/>
          <ac:spMkLst>
            <pc:docMk/>
            <pc:sldMk cId="3634448245" sldId="261"/>
            <ac:spMk id="5" creationId="{F3011815-909E-4A22-A875-F836AE01BD37}"/>
          </ac:spMkLst>
        </pc:spChg>
        <pc:spChg chg="del mod">
          <ac:chgData name="Tony Radkiewicz" userId="9832534a-7e4f-4058-9c41-7f4a5b855c95" providerId="ADAL" clId="{FCA77D62-6A33-429D-920B-15BC657DEB14}" dt="2021-03-26T19:07:15.667" v="601" actId="478"/>
          <ac:spMkLst>
            <pc:docMk/>
            <pc:sldMk cId="3634448245" sldId="261"/>
            <ac:spMk id="6" creationId="{29570849-A3B7-4A23-A8ED-A4EA01E99311}"/>
          </ac:spMkLst>
        </pc:spChg>
        <pc:spChg chg="del">
          <ac:chgData name="Tony Radkiewicz" userId="9832534a-7e4f-4058-9c41-7f4a5b855c95" providerId="ADAL" clId="{FCA77D62-6A33-429D-920B-15BC657DEB14}" dt="2021-03-26T15:17:39.428" v="29" actId="478"/>
          <ac:spMkLst>
            <pc:docMk/>
            <pc:sldMk cId="3634448245" sldId="261"/>
            <ac:spMk id="7" creationId="{D11E47CA-1B2E-43DF-B9A6-2526D7F0F855}"/>
          </ac:spMkLst>
        </pc:spChg>
        <pc:spChg chg="mod ord">
          <ac:chgData name="Tony Radkiewicz" userId="9832534a-7e4f-4058-9c41-7f4a5b855c95" providerId="ADAL" clId="{FCA77D62-6A33-429D-920B-15BC657DEB14}" dt="2021-03-26T19:07:58.495" v="615" actId="14100"/>
          <ac:spMkLst>
            <pc:docMk/>
            <pc:sldMk cId="3634448245" sldId="261"/>
            <ac:spMk id="8" creationId="{E19046CB-0319-41AD-9D21-2819AF017B7C}"/>
          </ac:spMkLst>
        </pc:spChg>
        <pc:spChg chg="add mod">
          <ac:chgData name="Tony Radkiewicz" userId="9832534a-7e4f-4058-9c41-7f4a5b855c95" providerId="ADAL" clId="{FCA77D62-6A33-429D-920B-15BC657DEB14}" dt="2021-03-26T19:56:03.114" v="688" actId="108"/>
          <ac:spMkLst>
            <pc:docMk/>
            <pc:sldMk cId="3634448245" sldId="261"/>
            <ac:spMk id="11" creationId="{FC91B455-55C3-4332-9FF6-FDD25AA89D15}"/>
          </ac:spMkLst>
        </pc:spChg>
      </pc:sldChg>
      <pc:sldChg chg="addSp delSp modSp mod modShow">
        <pc:chgData name="Tony Radkiewicz" userId="9832534a-7e4f-4058-9c41-7f4a5b855c95" providerId="ADAL" clId="{FCA77D62-6A33-429D-920B-15BC657DEB14}" dt="2021-03-29T20:58:07.868" v="2249" actId="20577"/>
        <pc:sldMkLst>
          <pc:docMk/>
          <pc:sldMk cId="3919307734" sldId="262"/>
        </pc:sldMkLst>
        <pc:spChg chg="add mod">
          <ac:chgData name="Tony Radkiewicz" userId="9832534a-7e4f-4058-9c41-7f4a5b855c95" providerId="ADAL" clId="{FCA77D62-6A33-429D-920B-15BC657DEB14}" dt="2021-03-29T20:58:07.868" v="2249" actId="20577"/>
          <ac:spMkLst>
            <pc:docMk/>
            <pc:sldMk cId="3919307734" sldId="262"/>
            <ac:spMk id="3" creationId="{0EE12E86-6E5D-48F0-B80F-20EBE303209E}"/>
          </ac:spMkLst>
        </pc:spChg>
        <pc:spChg chg="del mod">
          <ac:chgData name="Tony Radkiewicz" userId="9832534a-7e4f-4058-9c41-7f4a5b855c95" providerId="ADAL" clId="{FCA77D62-6A33-429D-920B-15BC657DEB14}" dt="2021-03-26T19:56:51.547" v="699" actId="478"/>
          <ac:spMkLst>
            <pc:docMk/>
            <pc:sldMk cId="3919307734" sldId="262"/>
            <ac:spMk id="6" creationId="{F7ACBE1A-9029-4D45-9942-B8BAE3E346B2}"/>
          </ac:spMkLst>
        </pc:spChg>
        <pc:spChg chg="add del mod">
          <ac:chgData name="Tony Radkiewicz" userId="9832534a-7e4f-4058-9c41-7f4a5b855c95" providerId="ADAL" clId="{FCA77D62-6A33-429D-920B-15BC657DEB14}" dt="2021-03-26T19:57:03.483" v="702" actId="12084"/>
          <ac:spMkLst>
            <pc:docMk/>
            <pc:sldMk cId="3919307734" sldId="262"/>
            <ac:spMk id="8" creationId="{6BB3C4C6-36FF-473B-BD28-CAF7FBE84529}"/>
          </ac:spMkLst>
        </pc:spChg>
        <pc:graphicFrameChg chg="del">
          <ac:chgData name="Tony Radkiewicz" userId="9832534a-7e4f-4058-9c41-7f4a5b855c95" providerId="ADAL" clId="{FCA77D62-6A33-429D-920B-15BC657DEB14}" dt="2021-03-26T19:55:29.024" v="683" actId="478"/>
          <ac:graphicFrameMkLst>
            <pc:docMk/>
            <pc:sldMk cId="3919307734" sldId="262"/>
            <ac:graphicFrameMk id="4" creationId="{EC1824ED-9E37-450B-A4E6-8F457D1E8E8F}"/>
          </ac:graphicFrameMkLst>
        </pc:graphicFrameChg>
        <pc:graphicFrameChg chg="del">
          <ac:chgData name="Tony Radkiewicz" userId="9832534a-7e4f-4058-9c41-7f4a5b855c95" providerId="ADAL" clId="{FCA77D62-6A33-429D-920B-15BC657DEB14}" dt="2021-03-26T19:55:25.173" v="682" actId="478"/>
          <ac:graphicFrameMkLst>
            <pc:docMk/>
            <pc:sldMk cId="3919307734" sldId="262"/>
            <ac:graphicFrameMk id="5" creationId="{5A632051-1468-4153-B538-997DB4A8C254}"/>
          </ac:graphicFrameMkLst>
        </pc:graphicFrameChg>
        <pc:graphicFrameChg chg="add mod">
          <ac:chgData name="Tony Radkiewicz" userId="9832534a-7e4f-4058-9c41-7f4a5b855c95" providerId="ADAL" clId="{FCA77D62-6A33-429D-920B-15BC657DEB14}" dt="2021-03-26T19:58:48.394" v="723" actId="13782"/>
          <ac:graphicFrameMkLst>
            <pc:docMk/>
            <pc:sldMk cId="3919307734" sldId="262"/>
            <ac:graphicFrameMk id="9" creationId="{484138B8-E1EA-4320-AFFC-374584BF065F}"/>
          </ac:graphicFrameMkLst>
        </pc:graphicFrameChg>
      </pc:sldChg>
      <pc:sldChg chg="modSp mod">
        <pc:chgData name="Tony Radkiewicz" userId="9832534a-7e4f-4058-9c41-7f4a5b855c95" providerId="ADAL" clId="{FCA77D62-6A33-429D-920B-15BC657DEB14}" dt="2021-03-26T20:25:09.034" v="820" actId="20577"/>
        <pc:sldMkLst>
          <pc:docMk/>
          <pc:sldMk cId="1131263595" sldId="265"/>
        </pc:sldMkLst>
        <pc:spChg chg="mod">
          <ac:chgData name="Tony Radkiewicz" userId="9832534a-7e4f-4058-9c41-7f4a5b855c95" providerId="ADAL" clId="{FCA77D62-6A33-429D-920B-15BC657DEB14}" dt="2021-03-26T20:25:09.034" v="820" actId="20577"/>
          <ac:spMkLst>
            <pc:docMk/>
            <pc:sldMk cId="1131263595" sldId="265"/>
            <ac:spMk id="13" creationId="{EB27B355-6235-4EDD-9744-BF20818AB669}"/>
          </ac:spMkLst>
        </pc:spChg>
      </pc:sldChg>
      <pc:sldChg chg="modSp mod">
        <pc:chgData name="Tony Radkiewicz" userId="9832534a-7e4f-4058-9c41-7f4a5b855c95" providerId="ADAL" clId="{FCA77D62-6A33-429D-920B-15BC657DEB14}" dt="2021-03-26T15:18:03.777" v="38" actId="14100"/>
        <pc:sldMkLst>
          <pc:docMk/>
          <pc:sldMk cId="2524361148" sldId="268"/>
        </pc:sldMkLst>
        <pc:spChg chg="mod">
          <ac:chgData name="Tony Radkiewicz" userId="9832534a-7e4f-4058-9c41-7f4a5b855c95" providerId="ADAL" clId="{FCA77D62-6A33-429D-920B-15BC657DEB14}" dt="2021-03-26T15:18:03.777" v="38" actId="14100"/>
          <ac:spMkLst>
            <pc:docMk/>
            <pc:sldMk cId="2524361148" sldId="268"/>
            <ac:spMk id="3" creationId="{00000000-0000-0000-0000-000000000000}"/>
          </ac:spMkLst>
        </pc:spChg>
      </pc:sldChg>
      <pc:sldChg chg="modSp mod">
        <pc:chgData name="Tony Radkiewicz" userId="9832534a-7e4f-4058-9c41-7f4a5b855c95" providerId="ADAL" clId="{FCA77D62-6A33-429D-920B-15BC657DEB14}" dt="2021-03-26T15:18:18.494" v="45" actId="14100"/>
        <pc:sldMkLst>
          <pc:docMk/>
          <pc:sldMk cId="3291008755" sldId="269"/>
        </pc:sldMkLst>
        <pc:spChg chg="mod">
          <ac:chgData name="Tony Radkiewicz" userId="9832534a-7e4f-4058-9c41-7f4a5b855c95" providerId="ADAL" clId="{FCA77D62-6A33-429D-920B-15BC657DEB14}" dt="2021-03-26T15:18:18.494" v="45" actId="14100"/>
          <ac:spMkLst>
            <pc:docMk/>
            <pc:sldMk cId="3291008755" sldId="269"/>
            <ac:spMk id="3" creationId="{8136D991-DC43-416D-ABD6-DFFFD9A97DF2}"/>
          </ac:spMkLst>
        </pc:spChg>
      </pc:sldChg>
      <pc:sldChg chg="modSp mod modNotesTx">
        <pc:chgData name="Tony Radkiewicz" userId="9832534a-7e4f-4058-9c41-7f4a5b855c95" providerId="ADAL" clId="{FCA77D62-6A33-429D-920B-15BC657DEB14}" dt="2021-03-26T21:41:40.659" v="1526" actId="6549"/>
        <pc:sldMkLst>
          <pc:docMk/>
          <pc:sldMk cId="2011171795" sldId="270"/>
        </pc:sldMkLst>
        <pc:spChg chg="mod">
          <ac:chgData name="Tony Radkiewicz" userId="9832534a-7e4f-4058-9c41-7f4a5b855c95" providerId="ADAL" clId="{FCA77D62-6A33-429D-920B-15BC657DEB14}" dt="2021-03-26T15:18:28.352" v="55" actId="20577"/>
          <ac:spMkLst>
            <pc:docMk/>
            <pc:sldMk cId="2011171795" sldId="270"/>
            <ac:spMk id="3" creationId="{3FBBB2DA-12B3-4DEB-8B7C-2625111130C9}"/>
          </ac:spMkLst>
        </pc:spChg>
      </pc:sldChg>
      <pc:sldChg chg="delSp modSp mod">
        <pc:chgData name="Tony Radkiewicz" userId="9832534a-7e4f-4058-9c41-7f4a5b855c95" providerId="ADAL" clId="{FCA77D62-6A33-429D-920B-15BC657DEB14}" dt="2021-03-26T22:00:38.180" v="1596"/>
        <pc:sldMkLst>
          <pc:docMk/>
          <pc:sldMk cId="3293857560" sldId="271"/>
        </pc:sldMkLst>
        <pc:spChg chg="del">
          <ac:chgData name="Tony Radkiewicz" userId="9832534a-7e4f-4058-9c41-7f4a5b855c95" providerId="ADAL" clId="{FCA77D62-6A33-429D-920B-15BC657DEB14}" dt="2021-03-26T15:18:43.534" v="56" actId="478"/>
          <ac:spMkLst>
            <pc:docMk/>
            <pc:sldMk cId="3293857560" sldId="271"/>
            <ac:spMk id="5" creationId="{97371B4C-AC29-4E0F-82FC-5233737B6142}"/>
          </ac:spMkLst>
        </pc:spChg>
        <pc:graphicFrameChg chg="mod modGraphic">
          <ac:chgData name="Tony Radkiewicz" userId="9832534a-7e4f-4058-9c41-7f4a5b855c95" providerId="ADAL" clId="{FCA77D62-6A33-429D-920B-15BC657DEB14}" dt="2021-03-26T22:00:38.180" v="1596"/>
          <ac:graphicFrameMkLst>
            <pc:docMk/>
            <pc:sldMk cId="3293857560" sldId="271"/>
            <ac:graphicFrameMk id="32" creationId="{8C19BFBA-5CA7-48D2-87DA-8887B57D2B56}"/>
          </ac:graphicFrameMkLst>
        </pc:graphicFrameChg>
      </pc:sldChg>
      <pc:sldChg chg="delSp modSp mod">
        <pc:chgData name="Tony Radkiewicz" userId="9832534a-7e4f-4058-9c41-7f4a5b855c95" providerId="ADAL" clId="{FCA77D62-6A33-429D-920B-15BC657DEB14}" dt="2021-03-26T15:19:39.340" v="77" actId="1076"/>
        <pc:sldMkLst>
          <pc:docMk/>
          <pc:sldMk cId="704602675" sldId="272"/>
        </pc:sldMkLst>
        <pc:spChg chg="del">
          <ac:chgData name="Tony Radkiewicz" userId="9832534a-7e4f-4058-9c41-7f4a5b855c95" providerId="ADAL" clId="{FCA77D62-6A33-429D-920B-15BC657DEB14}" dt="2021-03-26T15:19:29.900" v="70" actId="478"/>
          <ac:spMkLst>
            <pc:docMk/>
            <pc:sldMk cId="704602675" sldId="272"/>
            <ac:spMk id="5" creationId="{97371B4C-AC29-4E0F-82FC-5233737B6142}"/>
          </ac:spMkLst>
        </pc:spChg>
        <pc:graphicFrameChg chg="mod">
          <ac:chgData name="Tony Radkiewicz" userId="9832534a-7e4f-4058-9c41-7f4a5b855c95" providerId="ADAL" clId="{FCA77D62-6A33-429D-920B-15BC657DEB14}" dt="2021-03-26T15:19:39.340" v="77" actId="1076"/>
          <ac:graphicFrameMkLst>
            <pc:docMk/>
            <pc:sldMk cId="704602675" sldId="272"/>
            <ac:graphicFrameMk id="32" creationId="{8C19BFBA-5CA7-48D2-87DA-8887B57D2B56}"/>
          </ac:graphicFrameMkLst>
        </pc:graphicFrameChg>
      </pc:sldChg>
      <pc:sldChg chg="delSp modSp mod">
        <pc:chgData name="Tony Radkiewicz" userId="9832534a-7e4f-4058-9c41-7f4a5b855c95" providerId="ADAL" clId="{FCA77D62-6A33-429D-920B-15BC657DEB14}" dt="2021-03-26T15:19:55.238" v="79" actId="478"/>
        <pc:sldMkLst>
          <pc:docMk/>
          <pc:sldMk cId="1954619106" sldId="273"/>
        </pc:sldMkLst>
        <pc:spChg chg="del mod">
          <ac:chgData name="Tony Radkiewicz" userId="9832534a-7e4f-4058-9c41-7f4a5b855c95" providerId="ADAL" clId="{FCA77D62-6A33-429D-920B-15BC657DEB14}" dt="2021-03-26T15:19:55.238" v="79" actId="478"/>
          <ac:spMkLst>
            <pc:docMk/>
            <pc:sldMk cId="1954619106" sldId="273"/>
            <ac:spMk id="5" creationId="{97371B4C-AC29-4E0F-82FC-5233737B6142}"/>
          </ac:spMkLst>
        </pc:spChg>
      </pc:sldChg>
      <pc:sldChg chg="delSp mod">
        <pc:chgData name="Tony Radkiewicz" userId="9832534a-7e4f-4058-9c41-7f4a5b855c95" providerId="ADAL" clId="{FCA77D62-6A33-429D-920B-15BC657DEB14}" dt="2021-03-26T15:20:00.755" v="80" actId="478"/>
        <pc:sldMkLst>
          <pc:docMk/>
          <pc:sldMk cId="1854552641" sldId="274"/>
        </pc:sldMkLst>
        <pc:spChg chg="del">
          <ac:chgData name="Tony Radkiewicz" userId="9832534a-7e4f-4058-9c41-7f4a5b855c95" providerId="ADAL" clId="{FCA77D62-6A33-429D-920B-15BC657DEB14}" dt="2021-03-26T15:20:00.755" v="80" actId="478"/>
          <ac:spMkLst>
            <pc:docMk/>
            <pc:sldMk cId="1854552641" sldId="274"/>
            <ac:spMk id="5" creationId="{97371B4C-AC29-4E0F-82FC-5233737B6142}"/>
          </ac:spMkLst>
        </pc:spChg>
      </pc:sldChg>
      <pc:sldChg chg="modSp mod">
        <pc:chgData name="Tony Radkiewicz" userId="9832534a-7e4f-4058-9c41-7f4a5b855c95" providerId="ADAL" clId="{FCA77D62-6A33-429D-920B-15BC657DEB14}" dt="2021-03-26T15:20:18.836" v="91" actId="1076"/>
        <pc:sldMkLst>
          <pc:docMk/>
          <pc:sldMk cId="1614834569" sldId="277"/>
        </pc:sldMkLst>
        <pc:spChg chg="mod">
          <ac:chgData name="Tony Radkiewicz" userId="9832534a-7e4f-4058-9c41-7f4a5b855c95" providerId="ADAL" clId="{FCA77D62-6A33-429D-920B-15BC657DEB14}" dt="2021-03-26T15:20:18.836" v="91" actId="1076"/>
          <ac:spMkLst>
            <pc:docMk/>
            <pc:sldMk cId="1614834569" sldId="277"/>
            <ac:spMk id="3" creationId="{00000000-0000-0000-0000-000000000000}"/>
          </ac:spMkLst>
        </pc:spChg>
      </pc:sldChg>
      <pc:sldChg chg="modSp mod">
        <pc:chgData name="Tony Radkiewicz" userId="9832534a-7e4f-4058-9c41-7f4a5b855c95" providerId="ADAL" clId="{FCA77D62-6A33-429D-920B-15BC657DEB14}" dt="2021-03-26T15:20:24.374" v="93" actId="20577"/>
        <pc:sldMkLst>
          <pc:docMk/>
          <pc:sldMk cId="133185550" sldId="278"/>
        </pc:sldMkLst>
        <pc:spChg chg="mod">
          <ac:chgData name="Tony Radkiewicz" userId="9832534a-7e4f-4058-9c41-7f4a5b855c95" providerId="ADAL" clId="{FCA77D62-6A33-429D-920B-15BC657DEB14}" dt="2021-03-26T15:20:24.374" v="93" actId="20577"/>
          <ac:spMkLst>
            <pc:docMk/>
            <pc:sldMk cId="133185550" sldId="278"/>
            <ac:spMk id="11" creationId="{F33DCC97-ACAE-47FD-ACF1-13AA17375BAF}"/>
          </ac:spMkLst>
        </pc:spChg>
      </pc:sldChg>
      <pc:sldChg chg="modSp mod">
        <pc:chgData name="Tony Radkiewicz" userId="9832534a-7e4f-4058-9c41-7f4a5b855c95" providerId="ADAL" clId="{FCA77D62-6A33-429D-920B-15BC657DEB14}" dt="2021-03-26T15:20:36.384" v="97" actId="20577"/>
        <pc:sldMkLst>
          <pc:docMk/>
          <pc:sldMk cId="527507535" sldId="280"/>
        </pc:sldMkLst>
        <pc:spChg chg="mod">
          <ac:chgData name="Tony Radkiewicz" userId="9832534a-7e4f-4058-9c41-7f4a5b855c95" providerId="ADAL" clId="{FCA77D62-6A33-429D-920B-15BC657DEB14}" dt="2021-03-26T15:20:36.384" v="97" actId="20577"/>
          <ac:spMkLst>
            <pc:docMk/>
            <pc:sldMk cId="527507535" sldId="280"/>
            <ac:spMk id="8" creationId="{328EFEB2-90AF-466B-9842-39A41ACD09C9}"/>
          </ac:spMkLst>
        </pc:spChg>
      </pc:sldChg>
      <pc:sldChg chg="modSp mod">
        <pc:chgData name="Tony Radkiewicz" userId="9832534a-7e4f-4058-9c41-7f4a5b855c95" providerId="ADAL" clId="{FCA77D62-6A33-429D-920B-15BC657DEB14}" dt="2021-03-26T15:20:44.959" v="98" actId="14100"/>
        <pc:sldMkLst>
          <pc:docMk/>
          <pc:sldMk cId="3296877181" sldId="282"/>
        </pc:sldMkLst>
        <pc:spChg chg="mod">
          <ac:chgData name="Tony Radkiewicz" userId="9832534a-7e4f-4058-9c41-7f4a5b855c95" providerId="ADAL" clId="{FCA77D62-6A33-429D-920B-15BC657DEB14}" dt="2021-03-26T15:20:44.959" v="98" actId="14100"/>
          <ac:spMkLst>
            <pc:docMk/>
            <pc:sldMk cId="3296877181" sldId="282"/>
            <ac:spMk id="2" creationId="{00000000-0000-0000-0000-000000000000}"/>
          </ac:spMkLst>
        </pc:spChg>
      </pc:sldChg>
      <pc:sldChg chg="modSp mod modCm">
        <pc:chgData name="Tony Radkiewicz" userId="9832534a-7e4f-4058-9c41-7f4a5b855c95" providerId="ADAL" clId="{FCA77D62-6A33-429D-920B-15BC657DEB14}" dt="2021-03-29T21:06:27.577" v="2273"/>
        <pc:sldMkLst>
          <pc:docMk/>
          <pc:sldMk cId="717519573" sldId="284"/>
        </pc:sldMkLst>
        <pc:spChg chg="mod">
          <ac:chgData name="Tony Radkiewicz" userId="9832534a-7e4f-4058-9c41-7f4a5b855c95" providerId="ADAL" clId="{FCA77D62-6A33-429D-920B-15BC657DEB14}" dt="2021-03-26T15:20:52.443" v="99" actId="14100"/>
          <ac:spMkLst>
            <pc:docMk/>
            <pc:sldMk cId="717519573" sldId="284"/>
            <ac:spMk id="3" creationId="{00000000-0000-0000-0000-000000000000}"/>
          </ac:spMkLst>
        </pc:spChg>
      </pc:sldChg>
      <pc:sldChg chg="modSp mod">
        <pc:chgData name="Tony Radkiewicz" userId="9832534a-7e4f-4058-9c41-7f4a5b855c95" providerId="ADAL" clId="{FCA77D62-6A33-429D-920B-15BC657DEB14}" dt="2021-03-26T22:45:38.725" v="2000" actId="20577"/>
        <pc:sldMkLst>
          <pc:docMk/>
          <pc:sldMk cId="1313270211" sldId="285"/>
        </pc:sldMkLst>
        <pc:spChg chg="mod">
          <ac:chgData name="Tony Radkiewicz" userId="9832534a-7e4f-4058-9c41-7f4a5b855c95" providerId="ADAL" clId="{FCA77D62-6A33-429D-920B-15BC657DEB14}" dt="2021-03-26T22:45:38.725" v="2000" actId="20577"/>
          <ac:spMkLst>
            <pc:docMk/>
            <pc:sldMk cId="1313270211" sldId="285"/>
            <ac:spMk id="2" creationId="{B4208631-A922-421D-9D79-81131AF613DD}"/>
          </ac:spMkLst>
        </pc:spChg>
      </pc:sldChg>
      <pc:sldChg chg="modSp mod">
        <pc:chgData name="Tony Radkiewicz" userId="9832534a-7e4f-4058-9c41-7f4a5b855c95" providerId="ADAL" clId="{FCA77D62-6A33-429D-920B-15BC657DEB14}" dt="2021-03-26T15:21:03.019" v="100" actId="14100"/>
        <pc:sldMkLst>
          <pc:docMk/>
          <pc:sldMk cId="2951143564" sldId="286"/>
        </pc:sldMkLst>
        <pc:spChg chg="mod">
          <ac:chgData name="Tony Radkiewicz" userId="9832534a-7e4f-4058-9c41-7f4a5b855c95" providerId="ADAL" clId="{FCA77D62-6A33-429D-920B-15BC657DEB14}" dt="2021-03-26T15:21:03.019" v="100" actId="14100"/>
          <ac:spMkLst>
            <pc:docMk/>
            <pc:sldMk cId="2951143564" sldId="286"/>
            <ac:spMk id="3" creationId="{34B1EFB6-523D-4BDD-ADFC-320289FBF61C}"/>
          </ac:spMkLst>
        </pc:spChg>
      </pc:sldChg>
      <pc:sldChg chg="modSp mod">
        <pc:chgData name="Tony Radkiewicz" userId="9832534a-7e4f-4058-9c41-7f4a5b855c95" providerId="ADAL" clId="{FCA77D62-6A33-429D-920B-15BC657DEB14}" dt="2021-03-26T15:21:27.318" v="114" actId="1076"/>
        <pc:sldMkLst>
          <pc:docMk/>
          <pc:sldMk cId="2150294391" sldId="287"/>
        </pc:sldMkLst>
        <pc:spChg chg="mod">
          <ac:chgData name="Tony Radkiewicz" userId="9832534a-7e4f-4058-9c41-7f4a5b855c95" providerId="ADAL" clId="{FCA77D62-6A33-429D-920B-15BC657DEB14}" dt="2021-03-26T15:21:27.318" v="114" actId="1076"/>
          <ac:spMkLst>
            <pc:docMk/>
            <pc:sldMk cId="2150294391" sldId="287"/>
            <ac:spMk id="2" creationId="{A50D8ED9-7960-4006-AB0F-35B0832D63A1}"/>
          </ac:spMkLst>
        </pc:spChg>
      </pc:sldChg>
      <pc:sldChg chg="modSp mod">
        <pc:chgData name="Tony Radkiewicz" userId="9832534a-7e4f-4058-9c41-7f4a5b855c95" providerId="ADAL" clId="{FCA77D62-6A33-429D-920B-15BC657DEB14}" dt="2021-03-26T15:21:52.312" v="127" actId="1076"/>
        <pc:sldMkLst>
          <pc:docMk/>
          <pc:sldMk cId="1138811350" sldId="288"/>
        </pc:sldMkLst>
        <pc:spChg chg="mod">
          <ac:chgData name="Tony Radkiewicz" userId="9832534a-7e4f-4058-9c41-7f4a5b855c95" providerId="ADAL" clId="{FCA77D62-6A33-429D-920B-15BC657DEB14}" dt="2021-03-26T15:21:52.312" v="127" actId="1076"/>
          <ac:spMkLst>
            <pc:docMk/>
            <pc:sldMk cId="1138811350" sldId="288"/>
            <ac:spMk id="6" creationId="{C34D83F1-668F-415F-A6CB-BAE9B7619C91}"/>
          </ac:spMkLst>
        </pc:spChg>
      </pc:sldChg>
      <pc:sldChg chg="modSp add mod modShow modCm">
        <pc:chgData name="Tony Radkiewicz" userId="9832534a-7e4f-4058-9c41-7f4a5b855c95" providerId="ADAL" clId="{FCA77D62-6A33-429D-920B-15BC657DEB14}" dt="2021-03-29T20:55:27.913" v="2243"/>
        <pc:sldMkLst>
          <pc:docMk/>
          <pc:sldMk cId="2339254216" sldId="292"/>
        </pc:sldMkLst>
        <pc:spChg chg="mod">
          <ac:chgData name="Tony Radkiewicz" userId="9832534a-7e4f-4058-9c41-7f4a5b855c95" providerId="ADAL" clId="{FCA77D62-6A33-429D-920B-15BC657DEB14}" dt="2021-03-29T20:54:33.804" v="2241" actId="14100"/>
          <ac:spMkLst>
            <pc:docMk/>
            <pc:sldMk cId="2339254216" sldId="292"/>
            <ac:spMk id="5" creationId="{7A2054FB-270A-47D3-A208-679F30861119}"/>
          </ac:spMkLst>
        </pc:spChg>
        <pc:graphicFrameChg chg="mod modGraphic">
          <ac:chgData name="Tony Radkiewicz" userId="9832534a-7e4f-4058-9c41-7f4a5b855c95" providerId="ADAL" clId="{FCA77D62-6A33-429D-920B-15BC657DEB14}" dt="2021-03-26T18:51:25.254" v="327" actId="14100"/>
          <ac:graphicFrameMkLst>
            <pc:docMk/>
            <pc:sldMk cId="2339254216" sldId="292"/>
            <ac:graphicFrameMk id="4" creationId="{5F369B96-6A26-460F-98E6-87511A648C95}"/>
          </ac:graphicFrameMkLst>
        </pc:graphicFrameChg>
      </pc:sldChg>
      <pc:sldChg chg="modSp add mod modShow">
        <pc:chgData name="Tony Radkiewicz" userId="9832534a-7e4f-4058-9c41-7f4a5b855c95" providerId="ADAL" clId="{FCA77D62-6A33-429D-920B-15BC657DEB14}" dt="2021-03-26T20:05:13.417" v="737"/>
        <pc:sldMkLst>
          <pc:docMk/>
          <pc:sldMk cId="1047600977" sldId="293"/>
        </pc:sldMkLst>
        <pc:spChg chg="mod">
          <ac:chgData name="Tony Radkiewicz" userId="9832534a-7e4f-4058-9c41-7f4a5b855c95" providerId="ADAL" clId="{FCA77D62-6A33-429D-920B-15BC657DEB14}" dt="2021-03-26T20:05:13.417" v="737"/>
          <ac:spMkLst>
            <pc:docMk/>
            <pc:sldMk cId="1047600977" sldId="293"/>
            <ac:spMk id="5" creationId="{7A2054FB-270A-47D3-A208-679F30861119}"/>
          </ac:spMkLst>
        </pc:spChg>
        <pc:graphicFrameChg chg="mod">
          <ac:chgData name="Tony Radkiewicz" userId="9832534a-7e4f-4058-9c41-7f4a5b855c95" providerId="ADAL" clId="{FCA77D62-6A33-429D-920B-15BC657DEB14}" dt="2021-03-26T18:50:29.145" v="309" actId="1076"/>
          <ac:graphicFrameMkLst>
            <pc:docMk/>
            <pc:sldMk cId="1047600977" sldId="293"/>
            <ac:graphicFrameMk id="4" creationId="{5F369B96-6A26-460F-98E6-87511A648C95}"/>
          </ac:graphicFrameMkLst>
        </pc:graphicFrameChg>
      </pc:sldChg>
      <pc:sldChg chg="add del">
        <pc:chgData name="Tony Radkiewicz" userId="9832534a-7e4f-4058-9c41-7f4a5b855c95" providerId="ADAL" clId="{FCA77D62-6A33-429D-920B-15BC657DEB14}" dt="2021-03-26T18:58:23.852" v="483" actId="2696"/>
        <pc:sldMkLst>
          <pc:docMk/>
          <pc:sldMk cId="57845340" sldId="294"/>
        </pc:sldMkLst>
      </pc:sldChg>
      <pc:sldChg chg="addSp delSp modSp add mod modShow modCm">
        <pc:chgData name="Tony Radkiewicz" userId="9832534a-7e4f-4058-9c41-7f4a5b855c95" providerId="ADAL" clId="{FCA77D62-6A33-429D-920B-15BC657DEB14}" dt="2021-03-29T20:57:52.358" v="2245"/>
        <pc:sldMkLst>
          <pc:docMk/>
          <pc:sldMk cId="1216265785" sldId="294"/>
        </pc:sldMkLst>
        <pc:spChg chg="add mod">
          <ac:chgData name="Tony Radkiewicz" userId="9832534a-7e4f-4058-9c41-7f4a5b855c95" providerId="ADAL" clId="{FCA77D62-6A33-429D-920B-15BC657DEB14}" dt="2021-03-26T19:56:13.449" v="690" actId="108"/>
          <ac:spMkLst>
            <pc:docMk/>
            <pc:sldMk cId="1216265785" sldId="294"/>
            <ac:spMk id="3" creationId="{9E2AFA09-5E05-47FA-A3E9-BE4CDD21A6A9}"/>
          </ac:spMkLst>
        </pc:spChg>
        <pc:spChg chg="del">
          <ac:chgData name="Tony Radkiewicz" userId="9832534a-7e4f-4058-9c41-7f4a5b855c95" providerId="ADAL" clId="{FCA77D62-6A33-429D-920B-15BC657DEB14}" dt="2021-03-26T19:00:16.051" v="492" actId="478"/>
          <ac:spMkLst>
            <pc:docMk/>
            <pc:sldMk cId="1216265785" sldId="294"/>
            <ac:spMk id="6" creationId="{29570849-A3B7-4A23-A8ED-A4EA01E99311}"/>
          </ac:spMkLst>
        </pc:spChg>
        <pc:spChg chg="add del mod">
          <ac:chgData name="Tony Radkiewicz" userId="9832534a-7e4f-4058-9c41-7f4a5b855c95" providerId="ADAL" clId="{FCA77D62-6A33-429D-920B-15BC657DEB14}" dt="2021-03-26T19:00:18.242" v="493" actId="478"/>
          <ac:spMkLst>
            <pc:docMk/>
            <pc:sldMk cId="1216265785" sldId="294"/>
            <ac:spMk id="7" creationId="{6D3FEF7C-638A-487B-92D6-0272E66C744B}"/>
          </ac:spMkLst>
        </pc:spChg>
        <pc:spChg chg="del mod ord">
          <ac:chgData name="Tony Radkiewicz" userId="9832534a-7e4f-4058-9c41-7f4a5b855c95" providerId="ADAL" clId="{FCA77D62-6A33-429D-920B-15BC657DEB14}" dt="2021-03-26T19:01:58.729" v="524" actId="478"/>
          <ac:spMkLst>
            <pc:docMk/>
            <pc:sldMk cId="1216265785" sldId="294"/>
            <ac:spMk id="8" creationId="{E19046CB-0319-41AD-9D21-2819AF017B7C}"/>
          </ac:spMkLst>
        </pc:spChg>
        <pc:spChg chg="add del mod">
          <ac:chgData name="Tony Radkiewicz" userId="9832534a-7e4f-4058-9c41-7f4a5b855c95" providerId="ADAL" clId="{FCA77D62-6A33-429D-920B-15BC657DEB14}" dt="2021-03-26T19:04:45.188" v="541" actId="12084"/>
          <ac:spMkLst>
            <pc:docMk/>
            <pc:sldMk cId="1216265785" sldId="294"/>
            <ac:spMk id="9" creationId="{E9C4AE0B-6A7A-4723-A6C3-AC2432F5072C}"/>
          </ac:spMkLst>
        </pc:spChg>
        <pc:graphicFrameChg chg="add mod">
          <ac:chgData name="Tony Radkiewicz" userId="9832534a-7e4f-4058-9c41-7f4a5b855c95" providerId="ADAL" clId="{FCA77D62-6A33-429D-920B-15BC657DEB14}" dt="2021-03-26T19:06:01.954" v="597" actId="14100"/>
          <ac:graphicFrameMkLst>
            <pc:docMk/>
            <pc:sldMk cId="1216265785" sldId="294"/>
            <ac:graphicFrameMk id="10" creationId="{9D86BC91-38BB-4CC5-AE9B-7878AD82DFAE}"/>
          </ac:graphicFrameMkLst>
        </pc:graphicFrameChg>
      </pc:sldChg>
      <pc:sldChg chg="add del">
        <pc:chgData name="Tony Radkiewicz" userId="9832534a-7e4f-4058-9c41-7f4a5b855c95" providerId="ADAL" clId="{FCA77D62-6A33-429D-920B-15BC657DEB14}" dt="2021-03-26T19:07:12.625" v="600" actId="2890"/>
        <pc:sldMkLst>
          <pc:docMk/>
          <pc:sldMk cId="3587515686" sldId="295"/>
        </pc:sldMkLst>
      </pc:sldChg>
      <pc:sldChg chg="addSp delSp modSp add mod modShow addCm">
        <pc:chgData name="Tony Radkiewicz" userId="9832534a-7e4f-4058-9c41-7f4a5b855c95" providerId="ADAL" clId="{FCA77D62-6A33-429D-920B-15BC657DEB14}" dt="2021-03-29T20:55:52.143" v="2244"/>
        <pc:sldMkLst>
          <pc:docMk/>
          <pc:sldMk cId="3807819497" sldId="295"/>
        </pc:sldMkLst>
        <pc:spChg chg="del mod">
          <ac:chgData name="Tony Radkiewicz" userId="9832534a-7e4f-4058-9c41-7f4a5b855c95" providerId="ADAL" clId="{FCA77D62-6A33-429D-920B-15BC657DEB14}" dt="2021-03-26T19:11:04.025" v="640" actId="478"/>
          <ac:spMkLst>
            <pc:docMk/>
            <pc:sldMk cId="3807819497" sldId="295"/>
            <ac:spMk id="3" creationId="{54F21ED9-442A-4AB8-8B92-2DD17B7330C4}"/>
          </ac:spMkLst>
        </pc:spChg>
        <pc:spChg chg="add del mod">
          <ac:chgData name="Tony Radkiewicz" userId="9832534a-7e4f-4058-9c41-7f4a5b855c95" providerId="ADAL" clId="{FCA77D62-6A33-429D-920B-15BC657DEB14}" dt="2021-03-26T19:11:33.828" v="644" actId="12084"/>
          <ac:spMkLst>
            <pc:docMk/>
            <pc:sldMk cId="3807819497" sldId="295"/>
            <ac:spMk id="4" creationId="{567D1055-0898-413D-A101-DF79ECCFF872}"/>
          </ac:spMkLst>
        </pc:spChg>
        <pc:spChg chg="del mod">
          <ac:chgData name="Tony Radkiewicz" userId="9832534a-7e4f-4058-9c41-7f4a5b855c95" providerId="ADAL" clId="{FCA77D62-6A33-429D-920B-15BC657DEB14}" dt="2021-03-26T19:11:04.791" v="641" actId="478"/>
          <ac:spMkLst>
            <pc:docMk/>
            <pc:sldMk cId="3807819497" sldId="295"/>
            <ac:spMk id="5" creationId="{7A323F01-E0A7-479E-B420-5CBA9214F796}"/>
          </ac:spMkLst>
        </pc:spChg>
        <pc:spChg chg="mod">
          <ac:chgData name="Tony Radkiewicz" userId="9832534a-7e4f-4058-9c41-7f4a5b855c95" providerId="ADAL" clId="{FCA77D62-6A33-429D-920B-15BC657DEB14}" dt="2021-03-26T19:12:06.352" v="654" actId="14100"/>
          <ac:spMkLst>
            <pc:docMk/>
            <pc:sldMk cId="3807819497" sldId="295"/>
            <ac:spMk id="6" creationId="{3F666868-7B10-45F2-86C5-F04B0A027EAC}"/>
          </ac:spMkLst>
        </pc:spChg>
        <pc:spChg chg="del mod">
          <ac:chgData name="Tony Radkiewicz" userId="9832534a-7e4f-4058-9c41-7f4a5b855c95" providerId="ADAL" clId="{FCA77D62-6A33-429D-920B-15BC657DEB14}" dt="2021-03-26T19:10:06.680" v="625" actId="478"/>
          <ac:spMkLst>
            <pc:docMk/>
            <pc:sldMk cId="3807819497" sldId="295"/>
            <ac:spMk id="7" creationId="{461F805A-0609-4D25-A622-580795D4F27F}"/>
          </ac:spMkLst>
        </pc:spChg>
        <pc:graphicFrameChg chg="add mod">
          <ac:chgData name="Tony Radkiewicz" userId="9832534a-7e4f-4058-9c41-7f4a5b855c95" providerId="ADAL" clId="{FCA77D62-6A33-429D-920B-15BC657DEB14}" dt="2021-03-26T19:12:28.694" v="672" actId="14100"/>
          <ac:graphicFrameMkLst>
            <pc:docMk/>
            <pc:sldMk cId="3807819497" sldId="295"/>
            <ac:graphicFrameMk id="8" creationId="{F08D387B-1309-445E-BC92-C62135ECA0D9}"/>
          </ac:graphicFrameMkLst>
        </pc:graphicFrameChg>
      </pc:sldChg>
      <pc:sldChg chg="addSp delSp modSp add del mod modShow">
        <pc:chgData name="Tony Radkiewicz" userId="9832534a-7e4f-4058-9c41-7f4a5b855c95" providerId="ADAL" clId="{FCA77D62-6A33-429D-920B-15BC657DEB14}" dt="2021-03-26T20:00:01.040" v="727" actId="2696"/>
        <pc:sldMkLst>
          <pc:docMk/>
          <pc:sldMk cId="2007806941" sldId="296"/>
        </pc:sldMkLst>
        <pc:spChg chg="add del mod">
          <ac:chgData name="Tony Radkiewicz" userId="9832534a-7e4f-4058-9c41-7f4a5b855c95" providerId="ADAL" clId="{FCA77D62-6A33-429D-920B-15BC657DEB14}" dt="2021-03-26T19:13:54.453" v="678" actId="12084"/>
          <ac:spMkLst>
            <pc:docMk/>
            <pc:sldMk cId="2007806941" sldId="296"/>
            <ac:spMk id="3" creationId="{8493AF5D-D0E2-49B8-A0E7-63B814E5D090}"/>
          </ac:spMkLst>
        </pc:spChg>
        <pc:spChg chg="del">
          <ac:chgData name="Tony Radkiewicz" userId="9832534a-7e4f-4058-9c41-7f4a5b855c95" providerId="ADAL" clId="{FCA77D62-6A33-429D-920B-15BC657DEB14}" dt="2021-03-26T19:13:39.753" v="674" actId="478"/>
          <ac:spMkLst>
            <pc:docMk/>
            <pc:sldMk cId="2007806941" sldId="296"/>
            <ac:spMk id="6" creationId="{F7ACBE1A-9029-4D45-9942-B8BAE3E346B2}"/>
          </ac:spMkLst>
        </pc:spChg>
        <pc:graphicFrameChg chg="add mod">
          <ac:chgData name="Tony Radkiewicz" userId="9832534a-7e4f-4058-9c41-7f4a5b855c95" providerId="ADAL" clId="{FCA77D62-6A33-429D-920B-15BC657DEB14}" dt="2021-03-26T19:13:54.453" v="678" actId="12084"/>
          <ac:graphicFrameMkLst>
            <pc:docMk/>
            <pc:sldMk cId="2007806941" sldId="296"/>
            <ac:graphicFrameMk id="7" creationId="{B39D3F26-124E-4464-9D4B-8B39359B6157}"/>
          </ac:graphicFrameMkLst>
        </pc:graphicFrameChg>
      </pc:sldChg>
      <pc:sldChg chg="ord">
        <pc:chgData name="Tony Radkiewicz" userId="9832534a-7e4f-4058-9c41-7f4a5b855c95" providerId="ADAL" clId="{FCA77D62-6A33-429D-920B-15BC657DEB14}" dt="2021-03-26T19:59:47.165" v="725"/>
        <pc:sldMkLst>
          <pc:docMk/>
          <pc:sldMk cId="1780652605" sldId="297"/>
        </pc:sldMkLst>
      </pc:sldChg>
      <pc:sldChg chg="addSp delSp modSp add mod modShow modCm">
        <pc:chgData name="Tony Radkiewicz" userId="9832534a-7e4f-4058-9c41-7f4a5b855c95" providerId="ADAL" clId="{FCA77D62-6A33-429D-920B-15BC657DEB14}" dt="2021-03-29T20:59:38.316" v="2250"/>
        <pc:sldMkLst>
          <pc:docMk/>
          <pc:sldMk cId="2254668817" sldId="298"/>
        </pc:sldMkLst>
        <pc:spChg chg="add mod">
          <ac:chgData name="Tony Radkiewicz" userId="9832534a-7e4f-4058-9c41-7f4a5b855c95" providerId="ADAL" clId="{FCA77D62-6A33-429D-920B-15BC657DEB14}" dt="2021-03-26T20:06:31.619" v="743" actId="108"/>
          <ac:spMkLst>
            <pc:docMk/>
            <pc:sldMk cId="2254668817" sldId="298"/>
            <ac:spMk id="3" creationId="{5D6B4B5F-C435-4048-9E96-629F8DF98E6D}"/>
          </ac:spMkLst>
        </pc:spChg>
        <pc:spChg chg="del mod">
          <ac:chgData name="Tony Radkiewicz" userId="9832534a-7e4f-4058-9c41-7f4a5b855c95" providerId="ADAL" clId="{FCA77D62-6A33-429D-920B-15BC657DEB14}" dt="2021-03-26T20:03:49.278" v="731" actId="478"/>
          <ac:spMkLst>
            <pc:docMk/>
            <pc:sldMk cId="2254668817" sldId="298"/>
            <ac:spMk id="6" creationId="{BDEF328D-58F0-41DA-8767-F8BF0DC787C3}"/>
          </ac:spMkLst>
        </pc:spChg>
        <pc:spChg chg="del">
          <ac:chgData name="Tony Radkiewicz" userId="9832534a-7e4f-4058-9c41-7f4a5b855c95" providerId="ADAL" clId="{FCA77D62-6A33-429D-920B-15BC657DEB14}" dt="2021-03-26T20:03:41.904" v="729" actId="478"/>
          <ac:spMkLst>
            <pc:docMk/>
            <pc:sldMk cId="2254668817" sldId="298"/>
            <ac:spMk id="7" creationId="{16B26D46-BE05-4053-9A64-E1BA2CBE41F8}"/>
          </ac:spMkLst>
        </pc:spChg>
        <pc:spChg chg="add del mod">
          <ac:chgData name="Tony Radkiewicz" userId="9832534a-7e4f-4058-9c41-7f4a5b855c95" providerId="ADAL" clId="{FCA77D62-6A33-429D-920B-15BC657DEB14}" dt="2021-03-26T20:06:49.541" v="746" actId="12084"/>
          <ac:spMkLst>
            <pc:docMk/>
            <pc:sldMk cId="2254668817" sldId="298"/>
            <ac:spMk id="9" creationId="{5420932B-CCB4-4DF6-95B1-B6964FFF98B2}"/>
          </ac:spMkLst>
        </pc:spChg>
        <pc:graphicFrameChg chg="del mod">
          <ac:chgData name="Tony Radkiewicz" userId="9832534a-7e4f-4058-9c41-7f4a5b855c95" providerId="ADAL" clId="{FCA77D62-6A33-429D-920B-15BC657DEB14}" dt="2021-03-26T20:04:37.890" v="733" actId="478"/>
          <ac:graphicFrameMkLst>
            <pc:docMk/>
            <pc:sldMk cId="2254668817" sldId="298"/>
            <ac:graphicFrameMk id="4" creationId="{006A0878-9DD7-4A1B-9095-F8AC1C6A6900}"/>
          </ac:graphicFrameMkLst>
        </pc:graphicFrameChg>
        <pc:graphicFrameChg chg="del modGraphic">
          <ac:chgData name="Tony Radkiewicz" userId="9832534a-7e4f-4058-9c41-7f4a5b855c95" providerId="ADAL" clId="{FCA77D62-6A33-429D-920B-15BC657DEB14}" dt="2021-03-26T20:04:44.224" v="735" actId="478"/>
          <ac:graphicFrameMkLst>
            <pc:docMk/>
            <pc:sldMk cId="2254668817" sldId="298"/>
            <ac:graphicFrameMk id="5" creationId="{96DCF830-83BB-4906-BA17-34DA238A634B}"/>
          </ac:graphicFrameMkLst>
        </pc:graphicFrameChg>
        <pc:graphicFrameChg chg="add mod modGraphic">
          <ac:chgData name="Tony Radkiewicz" userId="9832534a-7e4f-4058-9c41-7f4a5b855c95" providerId="ADAL" clId="{FCA77D62-6A33-429D-920B-15BC657DEB14}" dt="2021-03-26T20:08:14.631" v="802" actId="14100"/>
          <ac:graphicFrameMkLst>
            <pc:docMk/>
            <pc:sldMk cId="2254668817" sldId="298"/>
            <ac:graphicFrameMk id="10" creationId="{9454D9B4-176C-4576-B1F4-DCFC9E9920A3}"/>
          </ac:graphicFrameMkLst>
        </pc:graphicFrameChg>
      </pc:sldChg>
      <pc:sldChg chg="addSp delSp modSp add mod delAnim modShow modCm">
        <pc:chgData name="Tony Radkiewicz" userId="9832534a-7e4f-4058-9c41-7f4a5b855c95" providerId="ADAL" clId="{FCA77D62-6A33-429D-920B-15BC657DEB14}" dt="2021-03-29T21:02:01.421" v="2264"/>
        <pc:sldMkLst>
          <pc:docMk/>
          <pc:sldMk cId="3123952937" sldId="299"/>
        </pc:sldMkLst>
        <pc:spChg chg="mod">
          <ac:chgData name="Tony Radkiewicz" userId="9832534a-7e4f-4058-9c41-7f4a5b855c95" providerId="ADAL" clId="{FCA77D62-6A33-429D-920B-15BC657DEB14}" dt="2021-03-26T20:16:58.685" v="810" actId="20577"/>
          <ac:spMkLst>
            <pc:docMk/>
            <pc:sldMk cId="3123952937" sldId="299"/>
            <ac:spMk id="2" creationId="{4C1C6778-4129-4EB2-BA7C-2601CA0DB8FD}"/>
          </ac:spMkLst>
        </pc:spChg>
        <pc:spChg chg="add del mod">
          <ac:chgData name="Tony Radkiewicz" userId="9832534a-7e4f-4058-9c41-7f4a5b855c95" providerId="ADAL" clId="{FCA77D62-6A33-429D-920B-15BC657DEB14}" dt="2021-03-26T20:17:08.327" v="812" actId="478"/>
          <ac:spMkLst>
            <pc:docMk/>
            <pc:sldMk cId="3123952937" sldId="299"/>
            <ac:spMk id="4" creationId="{B3BA0BE3-652C-42DE-98EA-CC126517B8DD}"/>
          </ac:spMkLst>
        </pc:spChg>
        <pc:spChg chg="add mod">
          <ac:chgData name="Tony Radkiewicz" userId="9832534a-7e4f-4058-9c41-7f4a5b855c95" providerId="ADAL" clId="{FCA77D62-6A33-429D-920B-15BC657DEB14}" dt="2021-03-29T21:00:41.310" v="2260" actId="6549"/>
          <ac:spMkLst>
            <pc:docMk/>
            <pc:sldMk cId="3123952937" sldId="299"/>
            <ac:spMk id="5" creationId="{CD7AC34A-2A1C-4695-B0AE-C30235314FC8}"/>
          </ac:spMkLst>
        </pc:spChg>
        <pc:spChg chg="del">
          <ac:chgData name="Tony Radkiewicz" userId="9832534a-7e4f-4058-9c41-7f4a5b855c95" providerId="ADAL" clId="{FCA77D62-6A33-429D-920B-15BC657DEB14}" dt="2021-03-26T20:17:06.435" v="811" actId="478"/>
          <ac:spMkLst>
            <pc:docMk/>
            <pc:sldMk cId="3123952937" sldId="299"/>
            <ac:spMk id="10" creationId="{27AA9460-8BF5-437A-A29A-2D3ACAC1D4B2}"/>
          </ac:spMkLst>
        </pc:spChg>
        <pc:spChg chg="mod">
          <ac:chgData name="Tony Radkiewicz" userId="9832534a-7e4f-4058-9c41-7f4a5b855c95" providerId="ADAL" clId="{FCA77D62-6A33-429D-920B-15BC657DEB14}" dt="2021-03-26T20:24:53.460" v="817" actId="6549"/>
          <ac:spMkLst>
            <pc:docMk/>
            <pc:sldMk cId="3123952937" sldId="299"/>
            <ac:spMk id="13" creationId="{EB27B355-6235-4EDD-9744-BF20818AB669}"/>
          </ac:spMkLst>
        </pc:spChg>
        <pc:spChg chg="del">
          <ac:chgData name="Tony Radkiewicz" userId="9832534a-7e4f-4058-9c41-7f4a5b855c95" providerId="ADAL" clId="{FCA77D62-6A33-429D-920B-15BC657DEB14}" dt="2021-03-26T20:28:02.360" v="822" actId="478"/>
          <ac:spMkLst>
            <pc:docMk/>
            <pc:sldMk cId="3123952937" sldId="299"/>
            <ac:spMk id="16" creationId="{ECA1A99A-58E6-431C-BEF8-5F36E4410F97}"/>
          </ac:spMkLst>
        </pc:spChg>
        <pc:grpChg chg="del">
          <ac:chgData name="Tony Radkiewicz" userId="9832534a-7e4f-4058-9c41-7f4a5b855c95" providerId="ADAL" clId="{FCA77D62-6A33-429D-920B-15BC657DEB14}" dt="2021-03-26T20:27:59.266" v="821" actId="478"/>
          <ac:grpSpMkLst>
            <pc:docMk/>
            <pc:sldMk cId="3123952937" sldId="299"/>
            <ac:grpSpMk id="14" creationId="{FE963A29-76AD-47D8-BDA5-1FCE892EF3A6}"/>
          </ac:grpSpMkLst>
        </pc:grpChg>
        <pc:graphicFrameChg chg="add modGraphic">
          <ac:chgData name="Tony Radkiewicz" userId="9832534a-7e4f-4058-9c41-7f4a5b855c95" providerId="ADAL" clId="{FCA77D62-6A33-429D-920B-15BC657DEB14}" dt="2021-03-26T20:55:46.274" v="1190" actId="20577"/>
          <ac:graphicFrameMkLst>
            <pc:docMk/>
            <pc:sldMk cId="3123952937" sldId="299"/>
            <ac:graphicFrameMk id="6" creationId="{A1E971C9-D45C-482C-ADBC-185B72081DAF}"/>
          </ac:graphicFrameMkLst>
        </pc:graphicFrameChg>
      </pc:sldChg>
      <pc:sldChg chg="addSp delSp modSp add mod ord modCm">
        <pc:chgData name="Tony Radkiewicz" userId="9832534a-7e4f-4058-9c41-7f4a5b855c95" providerId="ADAL" clId="{FCA77D62-6A33-429D-920B-15BC657DEB14}" dt="2021-03-29T21:01:18.315" v="2263"/>
        <pc:sldMkLst>
          <pc:docMk/>
          <pc:sldMk cId="2901526890" sldId="300"/>
        </pc:sldMkLst>
        <pc:spChg chg="add del mod">
          <ac:chgData name="Tony Radkiewicz" userId="9832534a-7e4f-4058-9c41-7f4a5b855c95" providerId="ADAL" clId="{FCA77D62-6A33-429D-920B-15BC657DEB14}" dt="2021-03-26T20:51:25.436" v="1028" actId="12084"/>
          <ac:spMkLst>
            <pc:docMk/>
            <pc:sldMk cId="2901526890" sldId="300"/>
            <ac:spMk id="3" creationId="{B05B1867-A205-4145-9E93-241C87CC0E88}"/>
          </ac:spMkLst>
        </pc:spChg>
        <pc:spChg chg="mod">
          <ac:chgData name="Tony Radkiewicz" userId="9832534a-7e4f-4058-9c41-7f4a5b855c95" providerId="ADAL" clId="{FCA77D62-6A33-429D-920B-15BC657DEB14}" dt="2021-03-29T21:00:45.744" v="2262" actId="6549"/>
          <ac:spMkLst>
            <pc:docMk/>
            <pc:sldMk cId="2901526890" sldId="300"/>
            <ac:spMk id="5" creationId="{CD7AC34A-2A1C-4695-B0AE-C30235314FC8}"/>
          </ac:spMkLst>
        </pc:spChg>
        <pc:graphicFrameChg chg="add mod">
          <ac:chgData name="Tony Radkiewicz" userId="9832534a-7e4f-4058-9c41-7f4a5b855c95" providerId="ADAL" clId="{FCA77D62-6A33-429D-920B-15BC657DEB14}" dt="2021-03-26T20:51:25.436" v="1028" actId="12084"/>
          <ac:graphicFrameMkLst>
            <pc:docMk/>
            <pc:sldMk cId="2901526890" sldId="300"/>
            <ac:graphicFrameMk id="4" creationId="{5AE922FA-E6BE-4330-9555-1F907846D795}"/>
          </ac:graphicFrameMkLst>
        </pc:graphicFrameChg>
      </pc:sldChg>
      <pc:sldChg chg="addSp delSp modSp add mod modShow">
        <pc:chgData name="Tony Radkiewicz" userId="9832534a-7e4f-4058-9c41-7f4a5b855c95" providerId="ADAL" clId="{FCA77D62-6A33-429D-920B-15BC657DEB14}" dt="2021-03-29T21:03:08.170" v="2272" actId="20577"/>
        <pc:sldMkLst>
          <pc:docMk/>
          <pc:sldMk cId="1289176943" sldId="301"/>
        </pc:sldMkLst>
        <pc:spChg chg="del">
          <ac:chgData name="Tony Radkiewicz" userId="9832534a-7e4f-4058-9c41-7f4a5b855c95" providerId="ADAL" clId="{FCA77D62-6A33-429D-920B-15BC657DEB14}" dt="2021-03-26T21:04:32.334" v="1193" actId="12084"/>
          <ac:spMkLst>
            <pc:docMk/>
            <pc:sldMk cId="1289176943" sldId="301"/>
            <ac:spMk id="3" creationId="{00000000-0000-0000-0000-000000000000}"/>
          </ac:spMkLst>
        </pc:spChg>
        <pc:spChg chg="add del mod">
          <ac:chgData name="Tony Radkiewicz" userId="9832534a-7e4f-4058-9c41-7f4a5b855c95" providerId="ADAL" clId="{FCA77D62-6A33-429D-920B-15BC657DEB14}" dt="2021-03-26T21:07:39.689" v="1227" actId="12084"/>
          <ac:spMkLst>
            <pc:docMk/>
            <pc:sldMk cId="1289176943" sldId="301"/>
            <ac:spMk id="5" creationId="{B422A6D5-D702-4F16-9E96-1DE1B1C7EE01}"/>
          </ac:spMkLst>
        </pc:spChg>
        <pc:spChg chg="add mod">
          <ac:chgData name="Tony Radkiewicz" userId="9832534a-7e4f-4058-9c41-7f4a5b855c95" providerId="ADAL" clId="{FCA77D62-6A33-429D-920B-15BC657DEB14}" dt="2021-03-26T21:11:15.391" v="1268"/>
          <ac:spMkLst>
            <pc:docMk/>
            <pc:sldMk cId="1289176943" sldId="301"/>
            <ac:spMk id="14" creationId="{DC0DF7EA-64FB-419E-86E9-1D082BC0F3FB}"/>
          </ac:spMkLst>
        </pc:spChg>
        <pc:spChg chg="add mod">
          <ac:chgData name="Tony Radkiewicz" userId="9832534a-7e4f-4058-9c41-7f4a5b855c95" providerId="ADAL" clId="{FCA77D62-6A33-429D-920B-15BC657DEB14}" dt="2021-03-26T21:11:15.391" v="1268"/>
          <ac:spMkLst>
            <pc:docMk/>
            <pc:sldMk cId="1289176943" sldId="301"/>
            <ac:spMk id="15" creationId="{E5D04977-839A-4E18-9090-D0C019A4ACC7}"/>
          </ac:spMkLst>
        </pc:spChg>
        <pc:spChg chg="add mod">
          <ac:chgData name="Tony Radkiewicz" userId="9832534a-7e4f-4058-9c41-7f4a5b855c95" providerId="ADAL" clId="{FCA77D62-6A33-429D-920B-15BC657DEB14}" dt="2021-03-26T21:11:15.391" v="1268"/>
          <ac:spMkLst>
            <pc:docMk/>
            <pc:sldMk cId="1289176943" sldId="301"/>
            <ac:spMk id="16" creationId="{84520620-C4C5-4FCB-89D8-E505C0A26C73}"/>
          </ac:spMkLst>
        </pc:spChg>
        <pc:spChg chg="add mod">
          <ac:chgData name="Tony Radkiewicz" userId="9832534a-7e4f-4058-9c41-7f4a5b855c95" providerId="ADAL" clId="{FCA77D62-6A33-429D-920B-15BC657DEB14}" dt="2021-03-26T21:11:15.391" v="1268"/>
          <ac:spMkLst>
            <pc:docMk/>
            <pc:sldMk cId="1289176943" sldId="301"/>
            <ac:spMk id="17" creationId="{E0E9265D-35AD-445C-AAAC-3F9E6B83C3EB}"/>
          </ac:spMkLst>
        </pc:spChg>
        <pc:spChg chg="add mod">
          <ac:chgData name="Tony Radkiewicz" userId="9832534a-7e4f-4058-9c41-7f4a5b855c95" providerId="ADAL" clId="{FCA77D62-6A33-429D-920B-15BC657DEB14}" dt="2021-03-26T21:11:15.391" v="1268"/>
          <ac:spMkLst>
            <pc:docMk/>
            <pc:sldMk cId="1289176943" sldId="301"/>
            <ac:spMk id="18" creationId="{BBB52062-63B9-4B6F-B1C4-1801B1DE3EDD}"/>
          </ac:spMkLst>
        </pc:spChg>
        <pc:spChg chg="add mod">
          <ac:chgData name="Tony Radkiewicz" userId="9832534a-7e4f-4058-9c41-7f4a5b855c95" providerId="ADAL" clId="{FCA77D62-6A33-429D-920B-15BC657DEB14}" dt="2021-03-26T21:11:15.391" v="1268"/>
          <ac:spMkLst>
            <pc:docMk/>
            <pc:sldMk cId="1289176943" sldId="301"/>
            <ac:spMk id="19" creationId="{71EFA40F-50F0-4270-A57D-7D76C8B625A8}"/>
          </ac:spMkLst>
        </pc:spChg>
        <pc:spChg chg="add mod">
          <ac:chgData name="Tony Radkiewicz" userId="9832534a-7e4f-4058-9c41-7f4a5b855c95" providerId="ADAL" clId="{FCA77D62-6A33-429D-920B-15BC657DEB14}" dt="2021-03-26T21:11:15.391" v="1268"/>
          <ac:spMkLst>
            <pc:docMk/>
            <pc:sldMk cId="1289176943" sldId="301"/>
            <ac:spMk id="20" creationId="{FBA7E76B-934E-4EB8-8937-256AA37577E3}"/>
          </ac:spMkLst>
        </pc:spChg>
        <pc:spChg chg="add mod">
          <ac:chgData name="Tony Radkiewicz" userId="9832534a-7e4f-4058-9c41-7f4a5b855c95" providerId="ADAL" clId="{FCA77D62-6A33-429D-920B-15BC657DEB14}" dt="2021-03-26T21:11:15.391" v="1268"/>
          <ac:spMkLst>
            <pc:docMk/>
            <pc:sldMk cId="1289176943" sldId="301"/>
            <ac:spMk id="21" creationId="{83B8A3BA-B14A-4A53-AC0E-D295AA745716}"/>
          </ac:spMkLst>
        </pc:spChg>
        <pc:spChg chg="add mod">
          <ac:chgData name="Tony Radkiewicz" userId="9832534a-7e4f-4058-9c41-7f4a5b855c95" providerId="ADAL" clId="{FCA77D62-6A33-429D-920B-15BC657DEB14}" dt="2021-03-26T21:11:15.391" v="1268"/>
          <ac:spMkLst>
            <pc:docMk/>
            <pc:sldMk cId="1289176943" sldId="301"/>
            <ac:spMk id="22" creationId="{1905E90E-F640-471A-938F-D6FBA3B2BEC1}"/>
          </ac:spMkLst>
        </pc:spChg>
        <pc:spChg chg="add mod">
          <ac:chgData name="Tony Radkiewicz" userId="9832534a-7e4f-4058-9c41-7f4a5b855c95" providerId="ADAL" clId="{FCA77D62-6A33-429D-920B-15BC657DEB14}" dt="2021-03-26T21:11:15.391" v="1268"/>
          <ac:spMkLst>
            <pc:docMk/>
            <pc:sldMk cId="1289176943" sldId="301"/>
            <ac:spMk id="23" creationId="{EC67F6CB-F244-4EF8-9B6B-B529B1CD5705}"/>
          </ac:spMkLst>
        </pc:spChg>
        <pc:spChg chg="add mod">
          <ac:chgData name="Tony Radkiewicz" userId="9832534a-7e4f-4058-9c41-7f4a5b855c95" providerId="ADAL" clId="{FCA77D62-6A33-429D-920B-15BC657DEB14}" dt="2021-03-26T21:11:15.391" v="1268"/>
          <ac:spMkLst>
            <pc:docMk/>
            <pc:sldMk cId="1289176943" sldId="301"/>
            <ac:spMk id="24" creationId="{CE8AA121-0E4A-4C95-A774-47363B607EAD}"/>
          </ac:spMkLst>
        </pc:spChg>
        <pc:spChg chg="add mod">
          <ac:chgData name="Tony Radkiewicz" userId="9832534a-7e4f-4058-9c41-7f4a5b855c95" providerId="ADAL" clId="{FCA77D62-6A33-429D-920B-15BC657DEB14}" dt="2021-03-26T21:11:15.391" v="1268"/>
          <ac:spMkLst>
            <pc:docMk/>
            <pc:sldMk cId="1289176943" sldId="301"/>
            <ac:spMk id="25" creationId="{2830B449-691B-4609-8AC4-621AECFA4F44}"/>
          </ac:spMkLst>
        </pc:spChg>
        <pc:grpChg chg="add mod">
          <ac:chgData name="Tony Radkiewicz" userId="9832534a-7e4f-4058-9c41-7f4a5b855c95" providerId="ADAL" clId="{FCA77D62-6A33-429D-920B-15BC657DEB14}" dt="2021-03-26T21:11:15.391" v="1268"/>
          <ac:grpSpMkLst>
            <pc:docMk/>
            <pc:sldMk cId="1289176943" sldId="301"/>
            <ac:grpSpMk id="8" creationId="{52CD2106-F423-47F5-ABC1-4C416F70FA26}"/>
          </ac:grpSpMkLst>
        </pc:grpChg>
        <pc:grpChg chg="add mod">
          <ac:chgData name="Tony Radkiewicz" userId="9832534a-7e4f-4058-9c41-7f4a5b855c95" providerId="ADAL" clId="{FCA77D62-6A33-429D-920B-15BC657DEB14}" dt="2021-03-26T21:11:15.391" v="1268"/>
          <ac:grpSpMkLst>
            <pc:docMk/>
            <pc:sldMk cId="1289176943" sldId="301"/>
            <ac:grpSpMk id="9" creationId="{CE60979D-C482-411D-B558-679BA35B2092}"/>
          </ac:grpSpMkLst>
        </pc:grpChg>
        <pc:grpChg chg="add mod">
          <ac:chgData name="Tony Radkiewicz" userId="9832534a-7e4f-4058-9c41-7f4a5b855c95" providerId="ADAL" clId="{FCA77D62-6A33-429D-920B-15BC657DEB14}" dt="2021-03-26T21:11:15.391" v="1268"/>
          <ac:grpSpMkLst>
            <pc:docMk/>
            <pc:sldMk cId="1289176943" sldId="301"/>
            <ac:grpSpMk id="10" creationId="{CF333C98-62D1-4F70-91B6-F0C3082B7057}"/>
          </ac:grpSpMkLst>
        </pc:grpChg>
        <pc:grpChg chg="add mod">
          <ac:chgData name="Tony Radkiewicz" userId="9832534a-7e4f-4058-9c41-7f4a5b855c95" providerId="ADAL" clId="{FCA77D62-6A33-429D-920B-15BC657DEB14}" dt="2021-03-26T21:11:15.391" v="1268"/>
          <ac:grpSpMkLst>
            <pc:docMk/>
            <pc:sldMk cId="1289176943" sldId="301"/>
            <ac:grpSpMk id="11" creationId="{B237209E-15AE-47F5-8C05-7266AA3B6C66}"/>
          </ac:grpSpMkLst>
        </pc:grpChg>
        <pc:grpChg chg="add mod">
          <ac:chgData name="Tony Radkiewicz" userId="9832534a-7e4f-4058-9c41-7f4a5b855c95" providerId="ADAL" clId="{FCA77D62-6A33-429D-920B-15BC657DEB14}" dt="2021-03-26T21:11:15.391" v="1268"/>
          <ac:grpSpMkLst>
            <pc:docMk/>
            <pc:sldMk cId="1289176943" sldId="301"/>
            <ac:grpSpMk id="12" creationId="{92C4CF1C-F1FC-4A4E-B654-8FB31EA5A0C8}"/>
          </ac:grpSpMkLst>
        </pc:grpChg>
        <pc:grpChg chg="add mod">
          <ac:chgData name="Tony Radkiewicz" userId="9832534a-7e4f-4058-9c41-7f4a5b855c95" providerId="ADAL" clId="{FCA77D62-6A33-429D-920B-15BC657DEB14}" dt="2021-03-26T21:11:15.391" v="1268"/>
          <ac:grpSpMkLst>
            <pc:docMk/>
            <pc:sldMk cId="1289176943" sldId="301"/>
            <ac:grpSpMk id="13" creationId="{05691460-9B6E-47A7-B8C2-D99E75D85E94}"/>
          </ac:grpSpMkLst>
        </pc:grpChg>
        <pc:graphicFrameChg chg="add mod">
          <ac:chgData name="Tony Radkiewicz" userId="9832534a-7e4f-4058-9c41-7f4a5b855c95" providerId="ADAL" clId="{FCA77D62-6A33-429D-920B-15BC657DEB14}" dt="2021-03-26T21:04:44.684" v="1205" actId="1076"/>
          <ac:graphicFrameMkLst>
            <pc:docMk/>
            <pc:sldMk cId="1289176943" sldId="301"/>
            <ac:graphicFrameMk id="4" creationId="{B21FDB19-1260-4031-B557-015C70741C78}"/>
          </ac:graphicFrameMkLst>
        </pc:graphicFrameChg>
        <pc:graphicFrameChg chg="add del mod modGraphic">
          <ac:chgData name="Tony Radkiewicz" userId="9832534a-7e4f-4058-9c41-7f4a5b855c95" providerId="ADAL" clId="{FCA77D62-6A33-429D-920B-15BC657DEB14}" dt="2021-03-26T21:05:58.734" v="1219" actId="12084"/>
          <ac:graphicFrameMkLst>
            <pc:docMk/>
            <pc:sldMk cId="1289176943" sldId="301"/>
            <ac:graphicFrameMk id="6" creationId="{F77D562E-6D1C-40C7-821A-49C44FC48B48}"/>
          </ac:graphicFrameMkLst>
        </pc:graphicFrameChg>
        <pc:graphicFrameChg chg="add mod modGraphic">
          <ac:chgData name="Tony Radkiewicz" userId="9832534a-7e4f-4058-9c41-7f4a5b855c95" providerId="ADAL" clId="{FCA77D62-6A33-429D-920B-15BC657DEB14}" dt="2021-03-26T21:13:08.355" v="1372" actId="1076"/>
          <ac:graphicFrameMkLst>
            <pc:docMk/>
            <pc:sldMk cId="1289176943" sldId="301"/>
            <ac:graphicFrameMk id="7" creationId="{465E6EE7-B2EC-4BC8-8EF1-3DE5BCBC3FFF}"/>
          </ac:graphicFrameMkLst>
        </pc:graphicFrameChg>
        <pc:graphicFrameChg chg="add mod modGraphic">
          <ac:chgData name="Tony Radkiewicz" userId="9832534a-7e4f-4058-9c41-7f4a5b855c95" providerId="ADAL" clId="{FCA77D62-6A33-429D-920B-15BC657DEB14}" dt="2021-03-29T21:03:08.170" v="2272" actId="20577"/>
          <ac:graphicFrameMkLst>
            <pc:docMk/>
            <pc:sldMk cId="1289176943" sldId="301"/>
            <ac:graphicFrameMk id="27" creationId="{4D5E4497-53E5-400A-9D59-B2E7A72A6E93}"/>
          </ac:graphicFrameMkLst>
        </pc:graphicFrameChg>
      </pc:sldChg>
      <pc:sldChg chg="addSp delSp modSp add mod modShow">
        <pc:chgData name="Tony Radkiewicz" userId="9832534a-7e4f-4058-9c41-7f4a5b855c95" providerId="ADAL" clId="{FCA77D62-6A33-429D-920B-15BC657DEB14}" dt="2021-03-26T21:33:12.531" v="1496" actId="12084"/>
        <pc:sldMkLst>
          <pc:docMk/>
          <pc:sldMk cId="2637085186" sldId="302"/>
        </pc:sldMkLst>
        <pc:spChg chg="del mod">
          <ac:chgData name="Tony Radkiewicz" userId="9832534a-7e4f-4058-9c41-7f4a5b855c95" providerId="ADAL" clId="{FCA77D62-6A33-429D-920B-15BC657DEB14}" dt="2021-03-26T21:33:12.531" v="1496" actId="12084"/>
          <ac:spMkLst>
            <pc:docMk/>
            <pc:sldMk cId="2637085186" sldId="302"/>
            <ac:spMk id="3" creationId="{8136D991-DC43-416D-ABD6-DFFFD9A97DF2}"/>
          </ac:spMkLst>
        </pc:spChg>
        <pc:spChg chg="add mod">
          <ac:chgData name="Tony Radkiewicz" userId="9832534a-7e4f-4058-9c41-7f4a5b855c95" providerId="ADAL" clId="{FCA77D62-6A33-429D-920B-15BC657DEB14}" dt="2021-03-26T21:32:58.178" v="1493" actId="1076"/>
          <ac:spMkLst>
            <pc:docMk/>
            <pc:sldMk cId="2637085186" sldId="302"/>
            <ac:spMk id="5" creationId="{A000310B-4532-4F07-8810-5095C1D640F1}"/>
          </ac:spMkLst>
        </pc:spChg>
        <pc:graphicFrameChg chg="add mod">
          <ac:chgData name="Tony Radkiewicz" userId="9832534a-7e4f-4058-9c41-7f4a5b855c95" providerId="ADAL" clId="{FCA77D62-6A33-429D-920B-15BC657DEB14}" dt="2021-03-26T21:33:12.531" v="1496" actId="12084"/>
          <ac:graphicFrameMkLst>
            <pc:docMk/>
            <pc:sldMk cId="2637085186" sldId="302"/>
            <ac:graphicFrameMk id="6" creationId="{F25488A8-49AC-4416-AB84-CA82031319EA}"/>
          </ac:graphicFrameMkLst>
        </pc:graphicFrameChg>
      </pc:sldChg>
      <pc:sldChg chg="addSp delSp modSp add mod modShow">
        <pc:chgData name="Tony Radkiewicz" userId="9832534a-7e4f-4058-9c41-7f4a5b855c95" providerId="ADAL" clId="{FCA77D62-6A33-429D-920B-15BC657DEB14}" dt="2021-03-26T22:04:15.406" v="1607" actId="108"/>
        <pc:sldMkLst>
          <pc:docMk/>
          <pc:sldMk cId="1818785807" sldId="303"/>
        </pc:sldMkLst>
        <pc:spChg chg="del mod">
          <ac:chgData name="Tony Radkiewicz" userId="9832534a-7e4f-4058-9c41-7f4a5b855c95" providerId="ADAL" clId="{FCA77D62-6A33-429D-920B-15BC657DEB14}" dt="2021-03-26T21:46:04.917" v="1542" actId="12084"/>
          <ac:spMkLst>
            <pc:docMk/>
            <pc:sldMk cId="1818785807" sldId="303"/>
            <ac:spMk id="3" creationId="{3FBBB2DA-12B3-4DEB-8B7C-2625111130C9}"/>
          </ac:spMkLst>
        </pc:spChg>
        <pc:spChg chg="del">
          <ac:chgData name="Tony Radkiewicz" userId="9832534a-7e4f-4058-9c41-7f4a5b855c95" providerId="ADAL" clId="{FCA77D62-6A33-429D-920B-15BC657DEB14}" dt="2021-03-26T21:47:17.865" v="1569" actId="478"/>
          <ac:spMkLst>
            <pc:docMk/>
            <pc:sldMk cId="1818785807" sldId="303"/>
            <ac:spMk id="6" creationId="{28009806-D799-4E09-A03F-6DFB01A325D8}"/>
          </ac:spMkLst>
        </pc:spChg>
        <pc:spChg chg="add mod">
          <ac:chgData name="Tony Radkiewicz" userId="9832534a-7e4f-4058-9c41-7f4a5b855c95" providerId="ADAL" clId="{FCA77D62-6A33-429D-920B-15BC657DEB14}" dt="2021-03-26T22:04:15.406" v="1607" actId="108"/>
          <ac:spMkLst>
            <pc:docMk/>
            <pc:sldMk cId="1818785807" sldId="303"/>
            <ac:spMk id="8" creationId="{3924148B-4BBB-493F-B5E6-F753154E9CE8}"/>
          </ac:spMkLst>
        </pc:spChg>
        <pc:graphicFrameChg chg="add mod modGraphic">
          <ac:chgData name="Tony Radkiewicz" userId="9832534a-7e4f-4058-9c41-7f4a5b855c95" providerId="ADAL" clId="{FCA77D62-6A33-429D-920B-15BC657DEB14}" dt="2021-03-26T21:47:15.183" v="1568" actId="20577"/>
          <ac:graphicFrameMkLst>
            <pc:docMk/>
            <pc:sldMk cId="1818785807" sldId="303"/>
            <ac:graphicFrameMk id="4" creationId="{847EE73C-A57A-4EC3-A954-F1236BB9CB74}"/>
          </ac:graphicFrameMkLst>
        </pc:graphicFrameChg>
        <pc:picChg chg="del mod">
          <ac:chgData name="Tony Radkiewicz" userId="9832534a-7e4f-4058-9c41-7f4a5b855c95" providerId="ADAL" clId="{FCA77D62-6A33-429D-920B-15BC657DEB14}" dt="2021-03-26T21:46:10.500" v="1544" actId="478"/>
          <ac:picMkLst>
            <pc:docMk/>
            <pc:sldMk cId="1818785807" sldId="303"/>
            <ac:picMk id="5" creationId="{5A380A7A-106E-4C8F-835D-62AC71D51C6C}"/>
          </ac:picMkLst>
        </pc:picChg>
        <pc:picChg chg="add mod">
          <ac:chgData name="Tony Radkiewicz" userId="9832534a-7e4f-4058-9c41-7f4a5b855c95" providerId="ADAL" clId="{FCA77D62-6A33-429D-920B-15BC657DEB14}" dt="2021-03-26T21:52:01.738" v="1593" actId="1076"/>
          <ac:picMkLst>
            <pc:docMk/>
            <pc:sldMk cId="1818785807" sldId="303"/>
            <ac:picMk id="10" creationId="{20C6BD81-B211-4960-A9A4-F8E056CE537C}"/>
          </ac:picMkLst>
        </pc:picChg>
      </pc:sldChg>
      <pc:sldChg chg="addSp delSp modSp add mod modShow modNotesTx">
        <pc:chgData name="Tony Radkiewicz" userId="9832534a-7e4f-4058-9c41-7f4a5b855c95" providerId="ADAL" clId="{FCA77D62-6A33-429D-920B-15BC657DEB14}" dt="2021-03-26T22:09:03.466" v="1743" actId="1076"/>
        <pc:sldMkLst>
          <pc:docMk/>
          <pc:sldMk cId="2907988244" sldId="304"/>
        </pc:sldMkLst>
        <pc:spChg chg="add del mod">
          <ac:chgData name="Tony Radkiewicz" userId="9832534a-7e4f-4058-9c41-7f4a5b855c95" providerId="ADAL" clId="{FCA77D62-6A33-429D-920B-15BC657DEB14}" dt="2021-03-26T22:03:32.939" v="1603" actId="478"/>
          <ac:spMkLst>
            <pc:docMk/>
            <pc:sldMk cId="2907988244" sldId="304"/>
            <ac:spMk id="3" creationId="{466CBC08-4E2D-4E81-A6FC-BD2E1114757E}"/>
          </ac:spMkLst>
        </pc:spChg>
        <pc:spChg chg="add mod">
          <ac:chgData name="Tony Radkiewicz" userId="9832534a-7e4f-4058-9c41-7f4a5b855c95" providerId="ADAL" clId="{FCA77D62-6A33-429D-920B-15BC657DEB14}" dt="2021-03-26T22:05:24.942" v="1616" actId="1076"/>
          <ac:spMkLst>
            <pc:docMk/>
            <pc:sldMk cId="2907988244" sldId="304"/>
            <ac:spMk id="4" creationId="{7D55BF64-CA16-4408-9C2C-242DA25CCA92}"/>
          </ac:spMkLst>
        </pc:spChg>
        <pc:spChg chg="add del mod">
          <ac:chgData name="Tony Radkiewicz" userId="9832534a-7e4f-4058-9c41-7f4a5b855c95" providerId="ADAL" clId="{FCA77D62-6A33-429D-920B-15BC657DEB14}" dt="2021-03-26T22:06:15.390" v="1642" actId="12084"/>
          <ac:spMkLst>
            <pc:docMk/>
            <pc:sldMk cId="2907988244" sldId="304"/>
            <ac:spMk id="5" creationId="{5917DDF1-5502-46C8-A902-957B060B6EE7}"/>
          </ac:spMkLst>
        </pc:spChg>
        <pc:spChg chg="del">
          <ac:chgData name="Tony Radkiewicz" userId="9832534a-7e4f-4058-9c41-7f4a5b855c95" providerId="ADAL" clId="{FCA77D62-6A33-429D-920B-15BC657DEB14}" dt="2021-03-26T22:04:55.884" v="1611" actId="478"/>
          <ac:spMkLst>
            <pc:docMk/>
            <pc:sldMk cId="2907988244" sldId="304"/>
            <ac:spMk id="6" creationId="{00000000-0000-0000-0000-000000000000}"/>
          </ac:spMkLst>
        </pc:spChg>
        <pc:spChg chg="mod">
          <ac:chgData name="Tony Radkiewicz" userId="9832534a-7e4f-4058-9c41-7f4a5b855c95" providerId="ADAL" clId="{FCA77D62-6A33-429D-920B-15BC657DEB14}" dt="2021-03-26T22:07:21.557" v="1675" actId="20577"/>
          <ac:spMkLst>
            <pc:docMk/>
            <pc:sldMk cId="2907988244" sldId="304"/>
            <ac:spMk id="9" creationId="{00000000-0000-0000-0000-000000000000}"/>
          </ac:spMkLst>
        </pc:spChg>
        <pc:spChg chg="add mod">
          <ac:chgData name="Tony Radkiewicz" userId="9832534a-7e4f-4058-9c41-7f4a5b855c95" providerId="ADAL" clId="{FCA77D62-6A33-429D-920B-15BC657DEB14}" dt="2021-03-26T22:09:03.466" v="1743" actId="1076"/>
          <ac:spMkLst>
            <pc:docMk/>
            <pc:sldMk cId="2907988244" sldId="304"/>
            <ac:spMk id="10" creationId="{41381F9F-6849-44F9-BBDF-1DB012C0171B}"/>
          </ac:spMkLst>
        </pc:spChg>
        <pc:spChg chg="del">
          <ac:chgData name="Tony Radkiewicz" userId="9832534a-7e4f-4058-9c41-7f4a5b855c95" providerId="ADAL" clId="{FCA77D62-6A33-429D-920B-15BC657DEB14}" dt="2021-03-26T22:03:29.215" v="1602" actId="478"/>
          <ac:spMkLst>
            <pc:docMk/>
            <pc:sldMk cId="2907988244" sldId="304"/>
            <ac:spMk id="11" creationId="{F33DCC97-ACAE-47FD-ACF1-13AA17375BAF}"/>
          </ac:spMkLst>
        </pc:spChg>
        <pc:graphicFrameChg chg="add mod modGraphic">
          <ac:chgData name="Tony Radkiewicz" userId="9832534a-7e4f-4058-9c41-7f4a5b855c95" providerId="ADAL" clId="{FCA77D62-6A33-429D-920B-15BC657DEB14}" dt="2021-03-26T22:08:08.254" v="1727" actId="20577"/>
          <ac:graphicFrameMkLst>
            <pc:docMk/>
            <pc:sldMk cId="2907988244" sldId="304"/>
            <ac:graphicFrameMk id="8" creationId="{3FF2D17C-6E84-4374-8859-F2DEBB851C34}"/>
          </ac:graphicFrameMkLst>
        </pc:graphicFrameChg>
      </pc:sldChg>
      <pc:sldChg chg="modSp add mod ord">
        <pc:chgData name="Tony Radkiewicz" userId="9832534a-7e4f-4058-9c41-7f4a5b855c95" providerId="ADAL" clId="{FCA77D62-6A33-429D-920B-15BC657DEB14}" dt="2021-03-26T22:16:13.430" v="1924" actId="20577"/>
        <pc:sldMkLst>
          <pc:docMk/>
          <pc:sldMk cId="581313808" sldId="305"/>
        </pc:sldMkLst>
        <pc:spChg chg="mod">
          <ac:chgData name="Tony Radkiewicz" userId="9832534a-7e4f-4058-9c41-7f4a5b855c95" providerId="ADAL" clId="{FCA77D62-6A33-429D-920B-15BC657DEB14}" dt="2021-03-26T22:11:41.523" v="1750" actId="1076"/>
          <ac:spMkLst>
            <pc:docMk/>
            <pc:sldMk cId="581313808" sldId="305"/>
            <ac:spMk id="10" creationId="{41381F9F-6849-44F9-BBDF-1DB012C0171B}"/>
          </ac:spMkLst>
        </pc:spChg>
        <pc:graphicFrameChg chg="mod modGraphic">
          <ac:chgData name="Tony Radkiewicz" userId="9832534a-7e4f-4058-9c41-7f4a5b855c95" providerId="ADAL" clId="{FCA77D62-6A33-429D-920B-15BC657DEB14}" dt="2021-03-26T22:16:13.430" v="1924" actId="20577"/>
          <ac:graphicFrameMkLst>
            <pc:docMk/>
            <pc:sldMk cId="581313808" sldId="305"/>
            <ac:graphicFrameMk id="8" creationId="{3FF2D17C-6E84-4374-8859-F2DEBB851C34}"/>
          </ac:graphicFrameMkLst>
        </pc:graphicFrameChg>
      </pc:sldChg>
      <pc:sldChg chg="addSp delSp modSp add mod modShow">
        <pc:chgData name="Tony Radkiewicz" userId="9832534a-7e4f-4058-9c41-7f4a5b855c95" providerId="ADAL" clId="{FCA77D62-6A33-429D-920B-15BC657DEB14}" dt="2021-03-26T22:39:03.979" v="1962" actId="20577"/>
        <pc:sldMkLst>
          <pc:docMk/>
          <pc:sldMk cId="1915883643" sldId="306"/>
        </pc:sldMkLst>
        <pc:spChg chg="add mod">
          <ac:chgData name="Tony Radkiewicz" userId="9832534a-7e4f-4058-9c41-7f4a5b855c95" providerId="ADAL" clId="{FCA77D62-6A33-429D-920B-15BC657DEB14}" dt="2021-03-26T22:39:03.979" v="1962" actId="20577"/>
          <ac:spMkLst>
            <pc:docMk/>
            <pc:sldMk cId="1915883643" sldId="306"/>
            <ac:spMk id="3" creationId="{840FF953-48A6-4B0F-AF9E-7AB6AAE33040}"/>
          </ac:spMkLst>
        </pc:spChg>
        <pc:graphicFrameChg chg="del">
          <ac:chgData name="Tony Radkiewicz" userId="9832534a-7e4f-4058-9c41-7f4a5b855c95" providerId="ADAL" clId="{FCA77D62-6A33-429D-920B-15BC657DEB14}" dt="2021-03-26T22:18:08.501" v="1928" actId="478"/>
          <ac:graphicFrameMkLst>
            <pc:docMk/>
            <pc:sldMk cId="1915883643" sldId="306"/>
            <ac:graphicFrameMk id="5" creationId="{314490ED-2A65-46FB-B6A8-7E9DE5C327A3}"/>
          </ac:graphicFrameMkLst>
        </pc:graphicFrameChg>
      </pc:sldChg>
      <pc:sldChg chg="addSp delSp modSp add mod modShow">
        <pc:chgData name="Tony Radkiewicz" userId="9832534a-7e4f-4058-9c41-7f4a5b855c95" providerId="ADAL" clId="{FCA77D62-6A33-429D-920B-15BC657DEB14}" dt="2021-03-26T22:48:39.911" v="2136" actId="20577"/>
        <pc:sldMkLst>
          <pc:docMk/>
          <pc:sldMk cId="334440044" sldId="307"/>
        </pc:sldMkLst>
        <pc:spChg chg="mod">
          <ac:chgData name="Tony Radkiewicz" userId="9832534a-7e4f-4058-9c41-7f4a5b855c95" providerId="ADAL" clId="{FCA77D62-6A33-429D-920B-15BC657DEB14}" dt="2021-03-26T22:43:44.982" v="1995" actId="20577"/>
          <ac:spMkLst>
            <pc:docMk/>
            <pc:sldMk cId="334440044" sldId="307"/>
            <ac:spMk id="2" creationId="{B4208631-A922-421D-9D79-81131AF613DD}"/>
          </ac:spMkLst>
        </pc:spChg>
        <pc:spChg chg="del">
          <ac:chgData name="Tony Radkiewicz" userId="9832534a-7e4f-4058-9c41-7f4a5b855c95" providerId="ADAL" clId="{FCA77D62-6A33-429D-920B-15BC657DEB14}" dt="2021-03-26T22:43:03.434" v="1965" actId="12084"/>
          <ac:spMkLst>
            <pc:docMk/>
            <pc:sldMk cId="334440044" sldId="307"/>
            <ac:spMk id="3" creationId="{43A7AB16-0C4C-4DBB-964E-EC027BC8F074}"/>
          </ac:spMkLst>
        </pc:spChg>
        <pc:spChg chg="del mod">
          <ac:chgData name="Tony Radkiewicz" userId="9832534a-7e4f-4058-9c41-7f4a5b855c95" providerId="ADAL" clId="{FCA77D62-6A33-429D-920B-15BC657DEB14}" dt="2021-03-26T22:46:46.038" v="2015" actId="12084"/>
          <ac:spMkLst>
            <pc:docMk/>
            <pc:sldMk cId="334440044" sldId="307"/>
            <ac:spMk id="4" creationId="{6E56E66B-491B-4166-97B3-FC556E094F0C}"/>
          </ac:spMkLst>
        </pc:spChg>
        <pc:graphicFrameChg chg="add mod">
          <ac:chgData name="Tony Radkiewicz" userId="9832534a-7e4f-4058-9c41-7f4a5b855c95" providerId="ADAL" clId="{FCA77D62-6A33-429D-920B-15BC657DEB14}" dt="2021-03-26T22:43:39.060" v="1990" actId="14100"/>
          <ac:graphicFrameMkLst>
            <pc:docMk/>
            <pc:sldMk cId="334440044" sldId="307"/>
            <ac:graphicFrameMk id="5" creationId="{4CA0EAA6-766F-4D19-8725-7E273111A509}"/>
          </ac:graphicFrameMkLst>
        </pc:graphicFrameChg>
        <pc:graphicFrameChg chg="add mod modGraphic">
          <ac:chgData name="Tony Radkiewicz" userId="9832534a-7e4f-4058-9c41-7f4a5b855c95" providerId="ADAL" clId="{FCA77D62-6A33-429D-920B-15BC657DEB14}" dt="2021-03-26T22:48:39.911" v="2136" actId="20577"/>
          <ac:graphicFrameMkLst>
            <pc:docMk/>
            <pc:sldMk cId="334440044" sldId="307"/>
            <ac:graphicFrameMk id="6" creationId="{1836D8FD-3455-416A-851A-F86041E2A1B2}"/>
          </ac:graphicFrameMkLst>
        </pc:graphicFrameChg>
      </pc:sldChg>
      <pc:sldChg chg="add mod modShow">
        <pc:chgData name="Tony Radkiewicz" userId="9832534a-7e4f-4058-9c41-7f4a5b855c95" providerId="ADAL" clId="{FCA77D62-6A33-429D-920B-15BC657DEB14}" dt="2021-03-26T22:49:12.219" v="2138" actId="729"/>
        <pc:sldMkLst>
          <pc:docMk/>
          <pc:sldMk cId="3930220576" sldId="308"/>
        </pc:sldMkLst>
      </pc:sldChg>
      <pc:sldChg chg="delSp modSp add mod modShow">
        <pc:chgData name="Tony Radkiewicz" userId="9832534a-7e4f-4058-9c41-7f4a5b855c95" providerId="ADAL" clId="{FCA77D62-6A33-429D-920B-15BC657DEB14}" dt="2021-03-26T22:55:09.732" v="2220" actId="6549"/>
        <pc:sldMkLst>
          <pc:docMk/>
          <pc:sldMk cId="3240642647" sldId="309"/>
        </pc:sldMkLst>
        <pc:spChg chg="del">
          <ac:chgData name="Tony Radkiewicz" userId="9832534a-7e4f-4058-9c41-7f4a5b855c95" providerId="ADAL" clId="{FCA77D62-6A33-429D-920B-15BC657DEB14}" dt="2021-03-26T22:54:13.091" v="2189" actId="478"/>
          <ac:spMkLst>
            <pc:docMk/>
            <pc:sldMk cId="3240642647" sldId="309"/>
            <ac:spMk id="2" creationId="{36150454-13D3-435A-BE3E-58986996BAF0}"/>
          </ac:spMkLst>
        </pc:spChg>
        <pc:spChg chg="mod ord">
          <ac:chgData name="Tony Radkiewicz" userId="9832534a-7e4f-4058-9c41-7f4a5b855c95" providerId="ADAL" clId="{FCA77D62-6A33-429D-920B-15BC657DEB14}" dt="2021-03-26T22:55:09.732" v="2220" actId="6549"/>
          <ac:spMkLst>
            <pc:docMk/>
            <pc:sldMk cId="3240642647" sldId="309"/>
            <ac:spMk id="6" creationId="{C34D83F1-668F-415F-A6CB-BAE9B7619C91}"/>
          </ac:spMkLst>
        </pc:spChg>
      </pc:sldChg>
    </pc:docChg>
  </pc:docChgLst>
  <pc:docChgLst>
    <pc:chgData name="Kory Thacher (APPS / POWERSHELL)" userId="995eb0f2-f21c-467c-a947-4f8fc26d0f2e" providerId="ADAL" clId="{ECC18E1D-4B37-4A7A-AEA5-184A6DBB9E07}"/>
    <pc:docChg chg="undo redo custSel addSld delSld modSld sldOrd delSection modSection">
      <pc:chgData name="Kory Thacher (APPS / POWERSHELL)" userId="995eb0f2-f21c-467c-a947-4f8fc26d0f2e" providerId="ADAL" clId="{ECC18E1D-4B37-4A7A-AEA5-184A6DBB9E07}" dt="2021-07-26T23:18:34.253" v="6247" actId="12100"/>
      <pc:docMkLst>
        <pc:docMk/>
      </pc:docMkLst>
      <pc:sldChg chg="modSp del mod">
        <pc:chgData name="Kory Thacher (APPS / POWERSHELL)" userId="995eb0f2-f21c-467c-a947-4f8fc26d0f2e" providerId="ADAL" clId="{ECC18E1D-4B37-4A7A-AEA5-184A6DBB9E07}" dt="2021-07-26T23:17:08.144" v="6238" actId="47"/>
        <pc:sldMkLst>
          <pc:docMk/>
          <pc:sldMk cId="2750683798" sldId="258"/>
        </pc:sldMkLst>
        <pc:spChg chg="mod">
          <ac:chgData name="Kory Thacher (APPS / POWERSHELL)" userId="995eb0f2-f21c-467c-a947-4f8fc26d0f2e" providerId="ADAL" clId="{ECC18E1D-4B37-4A7A-AEA5-184A6DBB9E07}" dt="2021-07-12T21:06:54.832" v="21" actId="20577"/>
          <ac:spMkLst>
            <pc:docMk/>
            <pc:sldMk cId="2750683798" sldId="258"/>
            <ac:spMk id="5" creationId="{55182462-DFDF-4D48-A92C-42FD52821C4E}"/>
          </ac:spMkLst>
        </pc:spChg>
      </pc:sldChg>
      <pc:sldChg chg="del">
        <pc:chgData name="Kory Thacher (APPS / POWERSHELL)" userId="995eb0f2-f21c-467c-a947-4f8fc26d0f2e" providerId="ADAL" clId="{ECC18E1D-4B37-4A7A-AEA5-184A6DBB9E07}" dt="2021-07-12T21:09:42.938" v="22" actId="47"/>
        <pc:sldMkLst>
          <pc:docMk/>
          <pc:sldMk cId="3634448245" sldId="261"/>
        </pc:sldMkLst>
      </pc:sldChg>
      <pc:sldChg chg="del">
        <pc:chgData name="Kory Thacher (APPS / POWERSHELL)" userId="995eb0f2-f21c-467c-a947-4f8fc26d0f2e" providerId="ADAL" clId="{ECC18E1D-4B37-4A7A-AEA5-184A6DBB9E07}" dt="2021-07-12T21:36:25.423" v="431" actId="47"/>
        <pc:sldMkLst>
          <pc:docMk/>
          <pc:sldMk cId="3919307734" sldId="262"/>
        </pc:sldMkLst>
      </pc:sldChg>
      <pc:sldChg chg="del">
        <pc:chgData name="Kory Thacher (APPS / POWERSHELL)" userId="995eb0f2-f21c-467c-a947-4f8fc26d0f2e" providerId="ADAL" clId="{ECC18E1D-4B37-4A7A-AEA5-184A6DBB9E07}" dt="2021-07-12T21:43:51.828" v="723" actId="47"/>
        <pc:sldMkLst>
          <pc:docMk/>
          <pc:sldMk cId="216358319" sldId="263"/>
        </pc:sldMkLst>
      </pc:sldChg>
      <pc:sldChg chg="del">
        <pc:chgData name="Kory Thacher (APPS / POWERSHELL)" userId="995eb0f2-f21c-467c-a947-4f8fc26d0f2e" providerId="ADAL" clId="{ECC18E1D-4B37-4A7A-AEA5-184A6DBB9E07}" dt="2021-07-12T21:54:21.950" v="815" actId="47"/>
        <pc:sldMkLst>
          <pc:docMk/>
          <pc:sldMk cId="1209509666" sldId="264"/>
        </pc:sldMkLst>
      </pc:sldChg>
      <pc:sldChg chg="del">
        <pc:chgData name="Kory Thacher (APPS / POWERSHELL)" userId="995eb0f2-f21c-467c-a947-4f8fc26d0f2e" providerId="ADAL" clId="{ECC18E1D-4B37-4A7A-AEA5-184A6DBB9E07}" dt="2021-07-12T21:54:21.950" v="815" actId="47"/>
        <pc:sldMkLst>
          <pc:docMk/>
          <pc:sldMk cId="1131263595" sldId="265"/>
        </pc:sldMkLst>
      </pc:sldChg>
      <pc:sldChg chg="modCm modNotesTx">
        <pc:chgData name="Kory Thacher (APPS / POWERSHELL)" userId="995eb0f2-f21c-467c-a947-4f8fc26d0f2e" providerId="ADAL" clId="{ECC18E1D-4B37-4A7A-AEA5-184A6DBB9E07}" dt="2021-07-26T22:59:46.510" v="6142" actId="20577"/>
        <pc:sldMkLst>
          <pc:docMk/>
          <pc:sldMk cId="2916855770" sldId="266"/>
        </pc:sldMkLst>
      </pc:sldChg>
      <pc:sldChg chg="del">
        <pc:chgData name="Kory Thacher (APPS / POWERSHELL)" userId="995eb0f2-f21c-467c-a947-4f8fc26d0f2e" providerId="ADAL" clId="{ECC18E1D-4B37-4A7A-AEA5-184A6DBB9E07}" dt="2021-07-12T22:44:20.833" v="1374" actId="47"/>
        <pc:sldMkLst>
          <pc:docMk/>
          <pc:sldMk cId="3291008755" sldId="269"/>
        </pc:sldMkLst>
      </pc:sldChg>
      <pc:sldChg chg="del">
        <pc:chgData name="Kory Thacher (APPS / POWERSHELL)" userId="995eb0f2-f21c-467c-a947-4f8fc26d0f2e" providerId="ADAL" clId="{ECC18E1D-4B37-4A7A-AEA5-184A6DBB9E07}" dt="2021-07-12T23:03:11.679" v="1660" actId="47"/>
        <pc:sldMkLst>
          <pc:docMk/>
          <pc:sldMk cId="2011171795" sldId="270"/>
        </pc:sldMkLst>
      </pc:sldChg>
      <pc:sldChg chg="del">
        <pc:chgData name="Kory Thacher (APPS / POWERSHELL)" userId="995eb0f2-f21c-467c-a947-4f8fc26d0f2e" providerId="ADAL" clId="{ECC18E1D-4B37-4A7A-AEA5-184A6DBB9E07}" dt="2021-07-16T18:01:23.962" v="2559" actId="47"/>
        <pc:sldMkLst>
          <pc:docMk/>
          <pc:sldMk cId="3293857560" sldId="271"/>
        </pc:sldMkLst>
      </pc:sldChg>
      <pc:sldChg chg="del">
        <pc:chgData name="Kory Thacher (APPS / POWERSHELL)" userId="995eb0f2-f21c-467c-a947-4f8fc26d0f2e" providerId="ADAL" clId="{ECC18E1D-4B37-4A7A-AEA5-184A6DBB9E07}" dt="2021-07-16T18:01:28.543" v="2560" actId="47"/>
        <pc:sldMkLst>
          <pc:docMk/>
          <pc:sldMk cId="704602675" sldId="272"/>
        </pc:sldMkLst>
      </pc:sldChg>
      <pc:sldChg chg="del mod modShow">
        <pc:chgData name="Kory Thacher (APPS / POWERSHELL)" userId="995eb0f2-f21c-467c-a947-4f8fc26d0f2e" providerId="ADAL" clId="{ECC18E1D-4B37-4A7A-AEA5-184A6DBB9E07}" dt="2021-07-16T19:31:57.746" v="3815" actId="47"/>
        <pc:sldMkLst>
          <pc:docMk/>
          <pc:sldMk cId="1954619106" sldId="273"/>
        </pc:sldMkLst>
      </pc:sldChg>
      <pc:sldChg chg="del mod modShow addCm modCm">
        <pc:chgData name="Kory Thacher (APPS / POWERSHELL)" userId="995eb0f2-f21c-467c-a947-4f8fc26d0f2e" providerId="ADAL" clId="{ECC18E1D-4B37-4A7A-AEA5-184A6DBB9E07}" dt="2021-07-16T19:31:57.746" v="3815" actId="47"/>
        <pc:sldMkLst>
          <pc:docMk/>
          <pc:sldMk cId="1854552641" sldId="274"/>
        </pc:sldMkLst>
      </pc:sldChg>
      <pc:sldChg chg="modNotesTx">
        <pc:chgData name="Kory Thacher (APPS / POWERSHELL)" userId="995eb0f2-f21c-467c-a947-4f8fc26d0f2e" providerId="ADAL" clId="{ECC18E1D-4B37-4A7A-AEA5-184A6DBB9E07}" dt="2021-07-26T23:00:23.177" v="6166"/>
        <pc:sldMkLst>
          <pc:docMk/>
          <pc:sldMk cId="1812621327" sldId="275"/>
        </pc:sldMkLst>
      </pc:sldChg>
      <pc:sldChg chg="del">
        <pc:chgData name="Kory Thacher (APPS / POWERSHELL)" userId="995eb0f2-f21c-467c-a947-4f8fc26d0f2e" providerId="ADAL" clId="{ECC18E1D-4B37-4A7A-AEA5-184A6DBB9E07}" dt="2021-07-16T19:33:23.121" v="3816" actId="47"/>
        <pc:sldMkLst>
          <pc:docMk/>
          <pc:sldMk cId="2150294391" sldId="287"/>
        </pc:sldMkLst>
      </pc:sldChg>
      <pc:sldChg chg="del">
        <pc:chgData name="Kory Thacher (APPS / POWERSHELL)" userId="995eb0f2-f21c-467c-a947-4f8fc26d0f2e" providerId="ADAL" clId="{ECC18E1D-4B37-4A7A-AEA5-184A6DBB9E07}" dt="2021-07-16T19:33:23.121" v="3816" actId="47"/>
        <pc:sldMkLst>
          <pc:docMk/>
          <pc:sldMk cId="1138811350" sldId="288"/>
        </pc:sldMkLst>
      </pc:sldChg>
      <pc:sldChg chg="del">
        <pc:chgData name="Kory Thacher (APPS / POWERSHELL)" userId="995eb0f2-f21c-467c-a947-4f8fc26d0f2e" providerId="ADAL" clId="{ECC18E1D-4B37-4A7A-AEA5-184A6DBB9E07}" dt="2021-07-16T19:33:23.121" v="3816" actId="47"/>
        <pc:sldMkLst>
          <pc:docMk/>
          <pc:sldMk cId="2008732114" sldId="289"/>
        </pc:sldMkLst>
      </pc:sldChg>
      <pc:sldChg chg="modSp mod">
        <pc:chgData name="Kory Thacher (APPS / POWERSHELL)" userId="995eb0f2-f21c-467c-a947-4f8fc26d0f2e" providerId="ADAL" clId="{ECC18E1D-4B37-4A7A-AEA5-184A6DBB9E07}" dt="2021-07-26T23:00:42.520" v="6168" actId="6549"/>
        <pc:sldMkLst>
          <pc:docMk/>
          <pc:sldMk cId="3640717353" sldId="290"/>
        </pc:sldMkLst>
        <pc:spChg chg="mod">
          <ac:chgData name="Kory Thacher (APPS / POWERSHELL)" userId="995eb0f2-f21c-467c-a947-4f8fc26d0f2e" providerId="ADAL" clId="{ECC18E1D-4B37-4A7A-AEA5-184A6DBB9E07}" dt="2021-07-26T23:00:42.520" v="6168" actId="6549"/>
          <ac:spMkLst>
            <pc:docMk/>
            <pc:sldMk cId="3640717353" sldId="290"/>
            <ac:spMk id="2" creationId="{BC57B38C-8413-4861-A4F5-7DF656AEAD0D}"/>
          </ac:spMkLst>
        </pc:spChg>
      </pc:sldChg>
      <pc:sldChg chg="del">
        <pc:chgData name="Kory Thacher (APPS / POWERSHELL)" userId="995eb0f2-f21c-467c-a947-4f8fc26d0f2e" providerId="ADAL" clId="{ECC18E1D-4B37-4A7A-AEA5-184A6DBB9E07}" dt="2021-07-12T21:36:25.423" v="431" actId="47"/>
        <pc:sldMkLst>
          <pc:docMk/>
          <pc:sldMk cId="1780652605" sldId="297"/>
        </pc:sldMkLst>
      </pc:sldChg>
      <pc:sldChg chg="del">
        <pc:chgData name="Kory Thacher (APPS / POWERSHELL)" userId="995eb0f2-f21c-467c-a947-4f8fc26d0f2e" providerId="ADAL" clId="{ECC18E1D-4B37-4A7A-AEA5-184A6DBB9E07}" dt="2021-07-12T21:43:51.828" v="723" actId="47"/>
        <pc:sldMkLst>
          <pc:docMk/>
          <pc:sldMk cId="2254668817" sldId="298"/>
        </pc:sldMkLst>
      </pc:sldChg>
      <pc:sldChg chg="del">
        <pc:chgData name="Kory Thacher (APPS / POWERSHELL)" userId="995eb0f2-f21c-467c-a947-4f8fc26d0f2e" providerId="ADAL" clId="{ECC18E1D-4B37-4A7A-AEA5-184A6DBB9E07}" dt="2021-07-12T22:12:05.616" v="979" actId="47"/>
        <pc:sldMkLst>
          <pc:docMk/>
          <pc:sldMk cId="3123952937" sldId="299"/>
        </pc:sldMkLst>
      </pc:sldChg>
      <pc:sldChg chg="del">
        <pc:chgData name="Kory Thacher (APPS / POWERSHELL)" userId="995eb0f2-f21c-467c-a947-4f8fc26d0f2e" providerId="ADAL" clId="{ECC18E1D-4B37-4A7A-AEA5-184A6DBB9E07}" dt="2021-07-12T22:12:05.616" v="979" actId="47"/>
        <pc:sldMkLst>
          <pc:docMk/>
          <pc:sldMk cId="2901526890" sldId="300"/>
        </pc:sldMkLst>
      </pc:sldChg>
      <pc:sldChg chg="del">
        <pc:chgData name="Kory Thacher (APPS / POWERSHELL)" userId="995eb0f2-f21c-467c-a947-4f8fc26d0f2e" providerId="ADAL" clId="{ECC18E1D-4B37-4A7A-AEA5-184A6DBB9E07}" dt="2021-07-12T22:44:20.833" v="1374" actId="47"/>
        <pc:sldMkLst>
          <pc:docMk/>
          <pc:sldMk cId="2637085186" sldId="302"/>
        </pc:sldMkLst>
      </pc:sldChg>
      <pc:sldChg chg="del">
        <pc:chgData name="Kory Thacher (APPS / POWERSHELL)" userId="995eb0f2-f21c-467c-a947-4f8fc26d0f2e" providerId="ADAL" clId="{ECC18E1D-4B37-4A7A-AEA5-184A6DBB9E07}" dt="2021-07-12T23:03:05.561" v="1658" actId="47"/>
        <pc:sldMkLst>
          <pc:docMk/>
          <pc:sldMk cId="1818785807" sldId="303"/>
        </pc:sldMkLst>
      </pc:sldChg>
      <pc:sldChg chg="del">
        <pc:chgData name="Kory Thacher (APPS / POWERSHELL)" userId="995eb0f2-f21c-467c-a947-4f8fc26d0f2e" providerId="ADAL" clId="{ECC18E1D-4B37-4A7A-AEA5-184A6DBB9E07}" dt="2021-07-16T19:33:23.121" v="3816" actId="47"/>
        <pc:sldMkLst>
          <pc:docMk/>
          <pc:sldMk cId="3240642647" sldId="309"/>
        </pc:sldMkLst>
      </pc:sldChg>
      <pc:sldChg chg="del">
        <pc:chgData name="Kory Thacher (APPS / POWERSHELL)" userId="995eb0f2-f21c-467c-a947-4f8fc26d0f2e" providerId="ADAL" clId="{ECC18E1D-4B37-4A7A-AEA5-184A6DBB9E07}" dt="2021-07-12T22:44:47.364" v="1375" actId="47"/>
        <pc:sldMkLst>
          <pc:docMk/>
          <pc:sldMk cId="2324468770" sldId="312"/>
        </pc:sldMkLst>
      </pc:sldChg>
      <pc:sldChg chg="modSp mod modShow modNotesTx">
        <pc:chgData name="Kory Thacher (APPS / POWERSHELL)" userId="995eb0f2-f21c-467c-a947-4f8fc26d0f2e" providerId="ADAL" clId="{ECC18E1D-4B37-4A7A-AEA5-184A6DBB9E07}" dt="2021-07-26T23:04:49.092" v="6196"/>
        <pc:sldMkLst>
          <pc:docMk/>
          <pc:sldMk cId="2645410879" sldId="313"/>
        </pc:sldMkLst>
        <pc:spChg chg="mod">
          <ac:chgData name="Kory Thacher (APPS / POWERSHELL)" userId="995eb0f2-f21c-467c-a947-4f8fc26d0f2e" providerId="ADAL" clId="{ECC18E1D-4B37-4A7A-AEA5-184A6DBB9E07}" dt="2021-07-26T23:04:49.092" v="6196"/>
          <ac:spMkLst>
            <pc:docMk/>
            <pc:sldMk cId="2645410879" sldId="313"/>
            <ac:spMk id="5" creationId="{A000310B-4532-4F07-8810-5095C1D640F1}"/>
          </ac:spMkLst>
        </pc:spChg>
        <pc:graphicFrameChg chg="mod modGraphic">
          <ac:chgData name="Kory Thacher (APPS / POWERSHELL)" userId="995eb0f2-f21c-467c-a947-4f8fc26d0f2e" providerId="ADAL" clId="{ECC18E1D-4B37-4A7A-AEA5-184A6DBB9E07}" dt="2021-07-12T22:58:46.791" v="1655" actId="20577"/>
          <ac:graphicFrameMkLst>
            <pc:docMk/>
            <pc:sldMk cId="2645410879" sldId="313"/>
            <ac:graphicFrameMk id="6" creationId="{F25488A8-49AC-4416-AB84-CA82031319EA}"/>
          </ac:graphicFrameMkLst>
        </pc:graphicFrameChg>
      </pc:sldChg>
      <pc:sldChg chg="modSp addCm modCm modNotesTx">
        <pc:chgData name="Kory Thacher (APPS / POWERSHELL)" userId="995eb0f2-f21c-467c-a947-4f8fc26d0f2e" providerId="ADAL" clId="{ECC18E1D-4B37-4A7A-AEA5-184A6DBB9E07}" dt="2021-07-26T23:01:25.442" v="6181" actId="20577"/>
        <pc:sldMkLst>
          <pc:docMk/>
          <pc:sldMk cId="3597134556" sldId="315"/>
        </pc:sldMkLst>
        <pc:graphicFrameChg chg="mod">
          <ac:chgData name="Kory Thacher (APPS / POWERSHELL)" userId="995eb0f2-f21c-467c-a947-4f8fc26d0f2e" providerId="ADAL" clId="{ECC18E1D-4B37-4A7A-AEA5-184A6DBB9E07}" dt="2021-07-16T18:02:29.774" v="2576" actId="20577"/>
          <ac:graphicFrameMkLst>
            <pc:docMk/>
            <pc:sldMk cId="3597134556" sldId="315"/>
            <ac:graphicFrameMk id="7" creationId="{465E6EE7-B2EC-4BC8-8EF1-3DE5BCBC3FFF}"/>
          </ac:graphicFrameMkLst>
        </pc:graphicFrameChg>
        <pc:graphicFrameChg chg="mod">
          <ac:chgData name="Kory Thacher (APPS / POWERSHELL)" userId="995eb0f2-f21c-467c-a947-4f8fc26d0f2e" providerId="ADAL" clId="{ECC18E1D-4B37-4A7A-AEA5-184A6DBB9E07}" dt="2021-07-16T18:02:40.535" v="2586" actId="20577"/>
          <ac:graphicFrameMkLst>
            <pc:docMk/>
            <pc:sldMk cId="3597134556" sldId="315"/>
            <ac:graphicFrameMk id="27" creationId="{4D5E4497-53E5-400A-9D59-B2E7A72A6E93}"/>
          </ac:graphicFrameMkLst>
        </pc:graphicFrameChg>
      </pc:sldChg>
      <pc:sldChg chg="modSp mod addCm modCm modNotesTx">
        <pc:chgData name="Kory Thacher (APPS / POWERSHELL)" userId="995eb0f2-f21c-467c-a947-4f8fc26d0f2e" providerId="ADAL" clId="{ECC18E1D-4B37-4A7A-AEA5-184A6DBB9E07}" dt="2021-07-26T23:07:34.287" v="6225" actId="113"/>
        <pc:sldMkLst>
          <pc:docMk/>
          <pc:sldMk cId="836303966" sldId="316"/>
        </pc:sldMkLst>
        <pc:spChg chg="mod">
          <ac:chgData name="Kory Thacher (APPS / POWERSHELL)" userId="995eb0f2-f21c-467c-a947-4f8fc26d0f2e" providerId="ADAL" clId="{ECC18E1D-4B37-4A7A-AEA5-184A6DBB9E07}" dt="2021-07-16T19:31:33.389" v="3814" actId="20577"/>
          <ac:spMkLst>
            <pc:docMk/>
            <pc:sldMk cId="836303966" sldId="316"/>
            <ac:spMk id="2" creationId="{CFFF28F3-54A6-4250-A166-6657F7CCBAEF}"/>
          </ac:spMkLst>
        </pc:spChg>
        <pc:spChg chg="mod">
          <ac:chgData name="Kory Thacher (APPS / POWERSHELL)" userId="995eb0f2-f21c-467c-a947-4f8fc26d0f2e" providerId="ADAL" clId="{ECC18E1D-4B37-4A7A-AEA5-184A6DBB9E07}" dt="2021-07-16T19:31:18.201" v="3804" actId="14100"/>
          <ac:spMkLst>
            <pc:docMk/>
            <pc:sldMk cId="836303966" sldId="316"/>
            <ac:spMk id="8" creationId="{3924148B-4BBB-493F-B5E6-F753154E9CE8}"/>
          </ac:spMkLst>
        </pc:spChg>
        <pc:graphicFrameChg chg="mod">
          <ac:chgData name="Kory Thacher (APPS / POWERSHELL)" userId="995eb0f2-f21c-467c-a947-4f8fc26d0f2e" providerId="ADAL" clId="{ECC18E1D-4B37-4A7A-AEA5-184A6DBB9E07}" dt="2021-07-26T23:07:34.287" v="6225" actId="113"/>
          <ac:graphicFrameMkLst>
            <pc:docMk/>
            <pc:sldMk cId="836303966" sldId="316"/>
            <ac:graphicFrameMk id="4" creationId="{847EE73C-A57A-4EC3-A954-F1236BB9CB74}"/>
          </ac:graphicFrameMkLst>
        </pc:graphicFrameChg>
      </pc:sldChg>
      <pc:sldChg chg="del">
        <pc:chgData name="Kory Thacher (APPS / POWERSHELL)" userId="995eb0f2-f21c-467c-a947-4f8fc26d0f2e" providerId="ADAL" clId="{ECC18E1D-4B37-4A7A-AEA5-184A6DBB9E07}" dt="2021-07-12T23:02:53.797" v="1657" actId="47"/>
        <pc:sldMkLst>
          <pc:docMk/>
          <pc:sldMk cId="1975876301" sldId="317"/>
        </pc:sldMkLst>
      </pc:sldChg>
      <pc:sldChg chg="del">
        <pc:chgData name="Kory Thacher (APPS / POWERSHELL)" userId="995eb0f2-f21c-467c-a947-4f8fc26d0f2e" providerId="ADAL" clId="{ECC18E1D-4B37-4A7A-AEA5-184A6DBB9E07}" dt="2021-07-12T23:03:06.862" v="1659" actId="47"/>
        <pc:sldMkLst>
          <pc:docMk/>
          <pc:sldMk cId="3560050542" sldId="318"/>
        </pc:sldMkLst>
      </pc:sldChg>
      <pc:sldChg chg="del">
        <pc:chgData name="Kory Thacher (APPS / POWERSHELL)" userId="995eb0f2-f21c-467c-a947-4f8fc26d0f2e" providerId="ADAL" clId="{ECC18E1D-4B37-4A7A-AEA5-184A6DBB9E07}" dt="2021-07-16T18:01:16.445" v="2558" actId="47"/>
        <pc:sldMkLst>
          <pc:docMk/>
          <pc:sldMk cId="1696814778" sldId="319"/>
        </pc:sldMkLst>
      </pc:sldChg>
      <pc:sldChg chg="del">
        <pc:chgData name="Kory Thacher (APPS / POWERSHELL)" userId="995eb0f2-f21c-467c-a947-4f8fc26d0f2e" providerId="ADAL" clId="{ECC18E1D-4B37-4A7A-AEA5-184A6DBB9E07}" dt="2021-07-16T19:33:23.121" v="3816" actId="47"/>
        <pc:sldMkLst>
          <pc:docMk/>
          <pc:sldMk cId="1079707778" sldId="321"/>
        </pc:sldMkLst>
      </pc:sldChg>
      <pc:sldChg chg="del">
        <pc:chgData name="Kory Thacher (APPS / POWERSHELL)" userId="995eb0f2-f21c-467c-a947-4f8fc26d0f2e" providerId="ADAL" clId="{ECC18E1D-4B37-4A7A-AEA5-184A6DBB9E07}" dt="2021-07-12T21:09:42.938" v="22" actId="47"/>
        <pc:sldMkLst>
          <pc:docMk/>
          <pc:sldMk cId="2992050437" sldId="322"/>
        </pc:sldMkLst>
      </pc:sldChg>
      <pc:sldChg chg="del">
        <pc:chgData name="Kory Thacher (APPS / POWERSHELL)" userId="995eb0f2-f21c-467c-a947-4f8fc26d0f2e" providerId="ADAL" clId="{ECC18E1D-4B37-4A7A-AEA5-184A6DBB9E07}" dt="2021-07-12T21:09:42.938" v="22" actId="47"/>
        <pc:sldMkLst>
          <pc:docMk/>
          <pc:sldMk cId="3936713191" sldId="325"/>
        </pc:sldMkLst>
      </pc:sldChg>
      <pc:sldChg chg="modSp del mod">
        <pc:chgData name="Kory Thacher (APPS / POWERSHELL)" userId="995eb0f2-f21c-467c-a947-4f8fc26d0f2e" providerId="ADAL" clId="{ECC18E1D-4B37-4A7A-AEA5-184A6DBB9E07}" dt="2021-07-12T21:11:39.478" v="47" actId="47"/>
        <pc:sldMkLst>
          <pc:docMk/>
          <pc:sldMk cId="3759446084" sldId="326"/>
        </pc:sldMkLst>
        <pc:graphicFrameChg chg="mod modGraphic">
          <ac:chgData name="Kory Thacher (APPS / POWERSHELL)" userId="995eb0f2-f21c-467c-a947-4f8fc26d0f2e" providerId="ADAL" clId="{ECC18E1D-4B37-4A7A-AEA5-184A6DBB9E07}" dt="2021-07-12T21:11:04.468" v="45" actId="404"/>
          <ac:graphicFrameMkLst>
            <pc:docMk/>
            <pc:sldMk cId="3759446084" sldId="326"/>
            <ac:graphicFrameMk id="10" creationId="{9D86BC91-38BB-4CC5-AE9B-7878AD82DFAE}"/>
          </ac:graphicFrameMkLst>
        </pc:graphicFrameChg>
      </pc:sldChg>
      <pc:sldChg chg="modSp mod ord modShow modNotesTx">
        <pc:chgData name="Kory Thacher (APPS / POWERSHELL)" userId="995eb0f2-f21c-467c-a947-4f8fc26d0f2e" providerId="ADAL" clId="{ECC18E1D-4B37-4A7A-AEA5-184A6DBB9E07}" dt="2021-07-26T22:42:41.355" v="5991"/>
        <pc:sldMkLst>
          <pc:docMk/>
          <pc:sldMk cId="962167628" sldId="327"/>
        </pc:sldMkLst>
        <pc:spChg chg="mod">
          <ac:chgData name="Kory Thacher (APPS / POWERSHELL)" userId="995eb0f2-f21c-467c-a947-4f8fc26d0f2e" providerId="ADAL" clId="{ECC18E1D-4B37-4A7A-AEA5-184A6DBB9E07}" dt="2021-07-26T22:33:42.723" v="5981" actId="20577"/>
          <ac:spMkLst>
            <pc:docMk/>
            <pc:sldMk cId="962167628" sldId="327"/>
            <ac:spMk id="3" creationId="{9E2AFA09-5E05-47FA-A3E9-BE4CDD21A6A9}"/>
          </ac:spMkLst>
        </pc:spChg>
        <pc:graphicFrameChg chg="mod modGraphic">
          <ac:chgData name="Kory Thacher (APPS / POWERSHELL)" userId="995eb0f2-f21c-467c-a947-4f8fc26d0f2e" providerId="ADAL" clId="{ECC18E1D-4B37-4A7A-AEA5-184A6DBB9E07}" dt="2021-07-12T21:12:23.904" v="56" actId="255"/>
          <ac:graphicFrameMkLst>
            <pc:docMk/>
            <pc:sldMk cId="962167628" sldId="327"/>
            <ac:graphicFrameMk id="10" creationId="{9D86BC91-38BB-4CC5-AE9B-7878AD82DFAE}"/>
          </ac:graphicFrameMkLst>
        </pc:graphicFrameChg>
      </pc:sldChg>
      <pc:sldChg chg="modSp mod modNotesTx">
        <pc:chgData name="Kory Thacher (APPS / POWERSHELL)" userId="995eb0f2-f21c-467c-a947-4f8fc26d0f2e" providerId="ADAL" clId="{ECC18E1D-4B37-4A7A-AEA5-184A6DBB9E07}" dt="2021-07-12T21:49:22.778" v="726" actId="207"/>
        <pc:sldMkLst>
          <pc:docMk/>
          <pc:sldMk cId="2565933029" sldId="328"/>
        </pc:sldMkLst>
        <pc:spChg chg="mod">
          <ac:chgData name="Kory Thacher (APPS / POWERSHELL)" userId="995eb0f2-f21c-467c-a947-4f8fc26d0f2e" providerId="ADAL" clId="{ECC18E1D-4B37-4A7A-AEA5-184A6DBB9E07}" dt="2021-07-12T21:16:39.338" v="60" actId="20577"/>
          <ac:spMkLst>
            <pc:docMk/>
            <pc:sldMk cId="2565933029" sldId="328"/>
            <ac:spMk id="2" creationId="{0D2B60B9-8D97-4B2F-BD77-7928B713EC25}"/>
          </ac:spMkLst>
        </pc:spChg>
        <pc:spChg chg="mod">
          <ac:chgData name="Kory Thacher (APPS / POWERSHELL)" userId="995eb0f2-f21c-467c-a947-4f8fc26d0f2e" providerId="ADAL" clId="{ECC18E1D-4B37-4A7A-AEA5-184A6DBB9E07}" dt="2021-07-12T21:49:22.778" v="726" actId="207"/>
          <ac:spMkLst>
            <pc:docMk/>
            <pc:sldMk cId="2565933029" sldId="328"/>
            <ac:spMk id="3" creationId="{0EE12E86-6E5D-48F0-B80F-20EBE303209E}"/>
          </ac:spMkLst>
        </pc:spChg>
        <pc:spChg chg="mod">
          <ac:chgData name="Kory Thacher (APPS / POWERSHELL)" userId="995eb0f2-f21c-467c-a947-4f8fc26d0f2e" providerId="ADAL" clId="{ECC18E1D-4B37-4A7A-AEA5-184A6DBB9E07}" dt="2021-07-12T21:29:07.041" v="430" actId="20577"/>
          <ac:spMkLst>
            <pc:docMk/>
            <pc:sldMk cId="2565933029" sldId="328"/>
            <ac:spMk id="4" creationId="{7E656016-FE81-4FDA-87F1-E1C9128B4C20}"/>
          </ac:spMkLst>
        </pc:spChg>
        <pc:graphicFrameChg chg="mod">
          <ac:chgData name="Kory Thacher (APPS / POWERSHELL)" userId="995eb0f2-f21c-467c-a947-4f8fc26d0f2e" providerId="ADAL" clId="{ECC18E1D-4B37-4A7A-AEA5-184A6DBB9E07}" dt="2021-07-12T21:21:21.778" v="394" actId="113"/>
          <ac:graphicFrameMkLst>
            <pc:docMk/>
            <pc:sldMk cId="2565933029" sldId="328"/>
            <ac:graphicFrameMk id="9" creationId="{484138B8-E1EA-4320-AFFC-374584BF065F}"/>
          </ac:graphicFrameMkLst>
        </pc:graphicFrameChg>
      </pc:sldChg>
      <pc:sldChg chg="modSp add del mod">
        <pc:chgData name="Kory Thacher (APPS / POWERSHELL)" userId="995eb0f2-f21c-467c-a947-4f8fc26d0f2e" providerId="ADAL" clId="{ECC18E1D-4B37-4A7A-AEA5-184A6DBB9E07}" dt="2021-07-12T21:54:21.950" v="815" actId="47"/>
        <pc:sldMkLst>
          <pc:docMk/>
          <pc:sldMk cId="2228872839" sldId="329"/>
        </pc:sldMkLst>
        <pc:spChg chg="mod">
          <ac:chgData name="Kory Thacher (APPS / POWERSHELL)" userId="995eb0f2-f21c-467c-a947-4f8fc26d0f2e" providerId="ADAL" clId="{ECC18E1D-4B37-4A7A-AEA5-184A6DBB9E07}" dt="2021-07-12T21:50:43.784" v="731" actId="207"/>
          <ac:spMkLst>
            <pc:docMk/>
            <pc:sldMk cId="2228872839" sldId="329"/>
            <ac:spMk id="3" creationId="{5D6B4B5F-C435-4048-9E96-629F8DF98E6D}"/>
          </ac:spMkLst>
        </pc:spChg>
      </pc:sldChg>
      <pc:sldChg chg="del">
        <pc:chgData name="Kory Thacher (APPS / POWERSHELL)" userId="995eb0f2-f21c-467c-a947-4f8fc26d0f2e" providerId="ADAL" clId="{ECC18E1D-4B37-4A7A-AEA5-184A6DBB9E07}" dt="2021-07-16T18:01:02.304" v="2557" actId="47"/>
        <pc:sldMkLst>
          <pc:docMk/>
          <pc:sldMk cId="2221525106" sldId="330"/>
        </pc:sldMkLst>
      </pc:sldChg>
      <pc:sldChg chg="modSp add del mod modNotesTx">
        <pc:chgData name="Kory Thacher (APPS / POWERSHELL)" userId="995eb0f2-f21c-467c-a947-4f8fc26d0f2e" providerId="ADAL" clId="{ECC18E1D-4B37-4A7A-AEA5-184A6DBB9E07}" dt="2021-07-12T21:51:12.582" v="732" actId="47"/>
        <pc:sldMkLst>
          <pc:docMk/>
          <pc:sldMk cId="2284968641" sldId="331"/>
        </pc:sldMkLst>
        <pc:spChg chg="mod">
          <ac:chgData name="Kory Thacher (APPS / POWERSHELL)" userId="995eb0f2-f21c-467c-a947-4f8fc26d0f2e" providerId="ADAL" clId="{ECC18E1D-4B37-4A7A-AEA5-184A6DBB9E07}" dt="2021-07-12T21:42:38.499" v="718" actId="20577"/>
          <ac:spMkLst>
            <pc:docMk/>
            <pc:sldMk cId="2284968641" sldId="331"/>
            <ac:spMk id="2" creationId="{0D2B60B9-8D97-4B2F-BD77-7928B713EC25}"/>
          </ac:spMkLst>
        </pc:spChg>
        <pc:graphicFrameChg chg="mod">
          <ac:chgData name="Kory Thacher (APPS / POWERSHELL)" userId="995eb0f2-f21c-467c-a947-4f8fc26d0f2e" providerId="ADAL" clId="{ECC18E1D-4B37-4A7A-AEA5-184A6DBB9E07}" dt="2021-07-12T21:42:58.001" v="721" actId="113"/>
          <ac:graphicFrameMkLst>
            <pc:docMk/>
            <pc:sldMk cId="2284968641" sldId="331"/>
            <ac:graphicFrameMk id="9" creationId="{484138B8-E1EA-4320-AFFC-374584BF065F}"/>
          </ac:graphicFrameMkLst>
        </pc:graphicFrameChg>
      </pc:sldChg>
      <pc:sldChg chg="modSp mod ord modNotesTx">
        <pc:chgData name="Kory Thacher (APPS / POWERSHELL)" userId="995eb0f2-f21c-467c-a947-4f8fc26d0f2e" providerId="ADAL" clId="{ECC18E1D-4B37-4A7A-AEA5-184A6DBB9E07}" dt="2021-07-26T22:42:47.397" v="5993"/>
        <pc:sldMkLst>
          <pc:docMk/>
          <pc:sldMk cId="3869881594" sldId="332"/>
        </pc:sldMkLst>
        <pc:spChg chg="mod">
          <ac:chgData name="Kory Thacher (APPS / POWERSHELL)" userId="995eb0f2-f21c-467c-a947-4f8fc26d0f2e" providerId="ADAL" clId="{ECC18E1D-4B37-4A7A-AEA5-184A6DBB9E07}" dt="2021-07-12T21:48:18.085" v="724" actId="207"/>
          <ac:spMkLst>
            <pc:docMk/>
            <pc:sldMk cId="3869881594" sldId="332"/>
            <ac:spMk id="3" creationId="{0EE12E86-6E5D-48F0-B80F-20EBE303209E}"/>
          </ac:spMkLst>
        </pc:spChg>
        <pc:graphicFrameChg chg="mod">
          <ac:chgData name="Kory Thacher (APPS / POWERSHELL)" userId="995eb0f2-f21c-467c-a947-4f8fc26d0f2e" providerId="ADAL" clId="{ECC18E1D-4B37-4A7A-AEA5-184A6DBB9E07}" dt="2021-07-12T21:53:36.568" v="760" actId="20577"/>
          <ac:graphicFrameMkLst>
            <pc:docMk/>
            <pc:sldMk cId="3869881594" sldId="332"/>
            <ac:graphicFrameMk id="9" creationId="{484138B8-E1EA-4320-AFFC-374584BF065F}"/>
          </ac:graphicFrameMkLst>
        </pc:graphicFrameChg>
      </pc:sldChg>
      <pc:sldChg chg="modSp del mod ord modNotesTx">
        <pc:chgData name="Kory Thacher (APPS / POWERSHELL)" userId="995eb0f2-f21c-467c-a947-4f8fc26d0f2e" providerId="ADAL" clId="{ECC18E1D-4B37-4A7A-AEA5-184A6DBB9E07}" dt="2021-07-16T20:02:35.372" v="4714" actId="47"/>
        <pc:sldMkLst>
          <pc:docMk/>
          <pc:sldMk cId="236941927" sldId="333"/>
        </pc:sldMkLst>
        <pc:spChg chg="mod">
          <ac:chgData name="Kory Thacher (APPS / POWERSHELL)" userId="995eb0f2-f21c-467c-a947-4f8fc26d0f2e" providerId="ADAL" clId="{ECC18E1D-4B37-4A7A-AEA5-184A6DBB9E07}" dt="2021-07-16T19:51:03.849" v="4401" actId="113"/>
          <ac:spMkLst>
            <pc:docMk/>
            <pc:sldMk cId="236941927" sldId="333"/>
            <ac:spMk id="3" creationId="{37FADCF0-A986-43DD-A118-C6AB1779E701}"/>
          </ac:spMkLst>
        </pc:spChg>
        <pc:spChg chg="mod">
          <ac:chgData name="Kory Thacher (APPS / POWERSHELL)" userId="995eb0f2-f21c-467c-a947-4f8fc26d0f2e" providerId="ADAL" clId="{ECC18E1D-4B37-4A7A-AEA5-184A6DBB9E07}" dt="2021-07-16T19:53:01.447" v="4493" actId="20577"/>
          <ac:spMkLst>
            <pc:docMk/>
            <pc:sldMk cId="236941927" sldId="333"/>
            <ac:spMk id="5" creationId="{A000310B-4532-4F07-8810-5095C1D640F1}"/>
          </ac:spMkLst>
        </pc:spChg>
      </pc:sldChg>
      <pc:sldChg chg="addSp delSp modSp mod ord modShow addCm modCm modNotesTx">
        <pc:chgData name="Kory Thacher (APPS / POWERSHELL)" userId="995eb0f2-f21c-467c-a947-4f8fc26d0f2e" providerId="ADAL" clId="{ECC18E1D-4B37-4A7A-AEA5-184A6DBB9E07}" dt="2021-07-26T22:14:58.343" v="5843"/>
        <pc:sldMkLst>
          <pc:docMk/>
          <pc:sldMk cId="3659623250" sldId="334"/>
        </pc:sldMkLst>
        <pc:spChg chg="del mod">
          <ac:chgData name="Kory Thacher (APPS / POWERSHELL)" userId="995eb0f2-f21c-467c-a947-4f8fc26d0f2e" providerId="ADAL" clId="{ECC18E1D-4B37-4A7A-AEA5-184A6DBB9E07}" dt="2021-07-26T22:10:41.130" v="5608" actId="12084"/>
          <ac:spMkLst>
            <pc:docMk/>
            <pc:sldMk cId="3659623250" sldId="334"/>
            <ac:spMk id="3" creationId="{7A496D3C-33A2-47C4-B78F-51B678269E43}"/>
          </ac:spMkLst>
        </pc:spChg>
        <pc:spChg chg="mod">
          <ac:chgData name="Kory Thacher (APPS / POWERSHELL)" userId="995eb0f2-f21c-467c-a947-4f8fc26d0f2e" providerId="ADAL" clId="{ECC18E1D-4B37-4A7A-AEA5-184A6DBB9E07}" dt="2021-07-26T22:04:17.301" v="5499" actId="207"/>
          <ac:spMkLst>
            <pc:docMk/>
            <pc:sldMk cId="3659623250" sldId="334"/>
            <ac:spMk id="5" creationId="{A000310B-4532-4F07-8810-5095C1D640F1}"/>
          </ac:spMkLst>
        </pc:spChg>
        <pc:graphicFrameChg chg="add mod">
          <ac:chgData name="Kory Thacher (APPS / POWERSHELL)" userId="995eb0f2-f21c-467c-a947-4f8fc26d0f2e" providerId="ADAL" clId="{ECC18E1D-4B37-4A7A-AEA5-184A6DBB9E07}" dt="2021-07-26T22:11:42.933" v="5621" actId="113"/>
          <ac:graphicFrameMkLst>
            <pc:docMk/>
            <pc:sldMk cId="3659623250" sldId="334"/>
            <ac:graphicFrameMk id="4" creationId="{4975C1BB-9666-4897-88A1-BC7419B7F4CB}"/>
          </ac:graphicFrameMkLst>
        </pc:graphicFrameChg>
      </pc:sldChg>
      <pc:sldChg chg="modSp add del">
        <pc:chgData name="Kory Thacher (APPS / POWERSHELL)" userId="995eb0f2-f21c-467c-a947-4f8fc26d0f2e" providerId="ADAL" clId="{ECC18E1D-4B37-4A7A-AEA5-184A6DBB9E07}" dt="2021-07-12T22:11:31.502" v="978" actId="47"/>
        <pc:sldMkLst>
          <pc:docMk/>
          <pc:sldMk cId="2397530190" sldId="335"/>
        </pc:sldMkLst>
        <pc:graphicFrameChg chg="mod">
          <ac:chgData name="Kory Thacher (APPS / POWERSHELL)" userId="995eb0f2-f21c-467c-a947-4f8fc26d0f2e" providerId="ADAL" clId="{ECC18E1D-4B37-4A7A-AEA5-184A6DBB9E07}" dt="2021-07-12T22:10:57.670" v="963"/>
          <ac:graphicFrameMkLst>
            <pc:docMk/>
            <pc:sldMk cId="2397530190" sldId="335"/>
            <ac:graphicFrameMk id="4" creationId="{5AE922FA-E6BE-4330-9555-1F907846D795}"/>
          </ac:graphicFrameMkLst>
        </pc:graphicFrameChg>
      </pc:sldChg>
      <pc:sldChg chg="modSp add mod ord modNotesTx">
        <pc:chgData name="Kory Thacher (APPS / POWERSHELL)" userId="995eb0f2-f21c-467c-a947-4f8fc26d0f2e" providerId="ADAL" clId="{ECC18E1D-4B37-4A7A-AEA5-184A6DBB9E07}" dt="2021-07-26T22:43:50.197" v="5995"/>
        <pc:sldMkLst>
          <pc:docMk/>
          <pc:sldMk cId="3247485498" sldId="336"/>
        </pc:sldMkLst>
        <pc:spChg chg="mod">
          <ac:chgData name="Kory Thacher (APPS / POWERSHELL)" userId="995eb0f2-f21c-467c-a947-4f8fc26d0f2e" providerId="ADAL" clId="{ECC18E1D-4B37-4A7A-AEA5-184A6DBB9E07}" dt="2021-07-12T22:05:22.303" v="903" actId="6549"/>
          <ac:spMkLst>
            <pc:docMk/>
            <pc:sldMk cId="3247485498" sldId="336"/>
            <ac:spMk id="2" creationId="{4C1C6778-4129-4EB2-BA7C-2601CA0DB8FD}"/>
          </ac:spMkLst>
        </pc:spChg>
        <pc:graphicFrameChg chg="mod modGraphic">
          <ac:chgData name="Kory Thacher (APPS / POWERSHELL)" userId="995eb0f2-f21c-467c-a947-4f8fc26d0f2e" providerId="ADAL" clId="{ECC18E1D-4B37-4A7A-AEA5-184A6DBB9E07}" dt="2021-07-12T22:08:31.528" v="957" actId="403"/>
          <ac:graphicFrameMkLst>
            <pc:docMk/>
            <pc:sldMk cId="3247485498" sldId="336"/>
            <ac:graphicFrameMk id="6" creationId="{A1E971C9-D45C-482C-ADBC-185B72081DAF}"/>
          </ac:graphicFrameMkLst>
        </pc:graphicFrameChg>
      </pc:sldChg>
      <pc:sldChg chg="modSp add mod ord addCm modCm modNotesTx">
        <pc:chgData name="Kory Thacher (APPS / POWERSHELL)" userId="995eb0f2-f21c-467c-a947-4f8fc26d0f2e" providerId="ADAL" clId="{ECC18E1D-4B37-4A7A-AEA5-184A6DBB9E07}" dt="2021-07-26T22:43:50.197" v="5995"/>
        <pc:sldMkLst>
          <pc:docMk/>
          <pc:sldMk cId="4113277077" sldId="337"/>
        </pc:sldMkLst>
        <pc:spChg chg="mod">
          <ac:chgData name="Kory Thacher (APPS / POWERSHELL)" userId="995eb0f2-f21c-467c-a947-4f8fc26d0f2e" providerId="ADAL" clId="{ECC18E1D-4B37-4A7A-AEA5-184A6DBB9E07}" dt="2021-07-16T19:41:56.581" v="4200" actId="20577"/>
          <ac:spMkLst>
            <pc:docMk/>
            <pc:sldMk cId="4113277077" sldId="337"/>
            <ac:spMk id="2" creationId="{4C1C6778-4129-4EB2-BA7C-2601CA0DB8FD}"/>
          </ac:spMkLst>
        </pc:spChg>
        <pc:spChg chg="mod">
          <ac:chgData name="Kory Thacher (APPS / POWERSHELL)" userId="995eb0f2-f21c-467c-a947-4f8fc26d0f2e" providerId="ADAL" clId="{ECC18E1D-4B37-4A7A-AEA5-184A6DBB9E07}" dt="2021-07-26T22:39:51.411" v="5989" actId="20577"/>
          <ac:spMkLst>
            <pc:docMk/>
            <pc:sldMk cId="4113277077" sldId="337"/>
            <ac:spMk id="5" creationId="{CD7AC34A-2A1C-4695-B0AE-C30235314FC8}"/>
          </ac:spMkLst>
        </pc:spChg>
        <pc:graphicFrameChg chg="mod">
          <ac:chgData name="Kory Thacher (APPS / POWERSHELL)" userId="995eb0f2-f21c-467c-a947-4f8fc26d0f2e" providerId="ADAL" clId="{ECC18E1D-4B37-4A7A-AEA5-184A6DBB9E07}" dt="2021-07-12T22:12:31.313" v="980" actId="113"/>
          <ac:graphicFrameMkLst>
            <pc:docMk/>
            <pc:sldMk cId="4113277077" sldId="337"/>
            <ac:graphicFrameMk id="6" creationId="{A1E971C9-D45C-482C-ADBC-185B72081DAF}"/>
          </ac:graphicFrameMkLst>
        </pc:graphicFrameChg>
      </pc:sldChg>
      <pc:sldChg chg="modSp del mod addCm">
        <pc:chgData name="Kory Thacher (APPS / POWERSHELL)" userId="995eb0f2-f21c-467c-a947-4f8fc26d0f2e" providerId="ADAL" clId="{ECC18E1D-4B37-4A7A-AEA5-184A6DBB9E07}" dt="2021-07-26T21:45:39.653" v="5082" actId="47"/>
        <pc:sldMkLst>
          <pc:docMk/>
          <pc:sldMk cId="675017040" sldId="338"/>
        </pc:sldMkLst>
        <pc:spChg chg="mod">
          <ac:chgData name="Kory Thacher (APPS / POWERSHELL)" userId="995eb0f2-f21c-467c-a947-4f8fc26d0f2e" providerId="ADAL" clId="{ECC18E1D-4B37-4A7A-AEA5-184A6DBB9E07}" dt="2021-07-12T22:42:59.958" v="1371" actId="20577"/>
          <ac:spMkLst>
            <pc:docMk/>
            <pc:sldMk cId="675017040" sldId="338"/>
            <ac:spMk id="3" creationId="{37FADCF0-A986-43DD-A118-C6AB1779E701}"/>
          </ac:spMkLst>
        </pc:spChg>
      </pc:sldChg>
      <pc:sldChg chg="addSp delSp modSp add mod modShow addCm modCm modNotesTx">
        <pc:chgData name="Kory Thacher (APPS / POWERSHELL)" userId="995eb0f2-f21c-467c-a947-4f8fc26d0f2e" providerId="ADAL" clId="{ECC18E1D-4B37-4A7A-AEA5-184A6DBB9E07}" dt="2021-07-26T23:05:50.419" v="6218" actId="20577"/>
        <pc:sldMkLst>
          <pc:docMk/>
          <pc:sldMk cId="3208853939" sldId="339"/>
        </pc:sldMkLst>
        <pc:spChg chg="mod">
          <ac:chgData name="Kory Thacher (APPS / POWERSHELL)" userId="995eb0f2-f21c-467c-a947-4f8fc26d0f2e" providerId="ADAL" clId="{ECC18E1D-4B37-4A7A-AEA5-184A6DBB9E07}" dt="2021-07-26T23:05:50.419" v="6218" actId="20577"/>
          <ac:spMkLst>
            <pc:docMk/>
            <pc:sldMk cId="3208853939" sldId="339"/>
            <ac:spMk id="2" creationId="{BE917E6D-41AE-40EC-8E2C-1394A833D262}"/>
          </ac:spMkLst>
        </pc:spChg>
        <pc:spChg chg="add del mod">
          <ac:chgData name="Kory Thacher (APPS / POWERSHELL)" userId="995eb0f2-f21c-467c-a947-4f8fc26d0f2e" providerId="ADAL" clId="{ECC18E1D-4B37-4A7A-AEA5-184A6DBB9E07}" dt="2021-07-12T22:45:05.942" v="1392" actId="478"/>
          <ac:spMkLst>
            <pc:docMk/>
            <pc:sldMk cId="3208853939" sldId="339"/>
            <ac:spMk id="4" creationId="{007D68AE-EA21-4584-B3A2-69AA0FDC7E18}"/>
          </ac:spMkLst>
        </pc:spChg>
        <pc:spChg chg="mod">
          <ac:chgData name="Kory Thacher (APPS / POWERSHELL)" userId="995eb0f2-f21c-467c-a947-4f8fc26d0f2e" providerId="ADAL" clId="{ECC18E1D-4B37-4A7A-AEA5-184A6DBB9E07}" dt="2021-07-26T22:36:47.799" v="5987" actId="207"/>
          <ac:spMkLst>
            <pc:docMk/>
            <pc:sldMk cId="3208853939" sldId="339"/>
            <ac:spMk id="5" creationId="{A000310B-4532-4F07-8810-5095C1D640F1}"/>
          </ac:spMkLst>
        </pc:spChg>
        <pc:graphicFrameChg chg="del">
          <ac:chgData name="Kory Thacher (APPS / POWERSHELL)" userId="995eb0f2-f21c-467c-a947-4f8fc26d0f2e" providerId="ADAL" clId="{ECC18E1D-4B37-4A7A-AEA5-184A6DBB9E07}" dt="2021-07-12T22:45:04.525" v="1391" actId="478"/>
          <ac:graphicFrameMkLst>
            <pc:docMk/>
            <pc:sldMk cId="3208853939" sldId="339"/>
            <ac:graphicFrameMk id="6" creationId="{F25488A8-49AC-4416-AB84-CA82031319EA}"/>
          </ac:graphicFrameMkLst>
        </pc:graphicFrameChg>
        <pc:picChg chg="add del mod">
          <ac:chgData name="Kory Thacher (APPS / POWERSHELL)" userId="995eb0f2-f21c-467c-a947-4f8fc26d0f2e" providerId="ADAL" clId="{ECC18E1D-4B37-4A7A-AEA5-184A6DBB9E07}" dt="2021-07-26T22:25:21.481" v="5855" actId="478"/>
          <ac:picMkLst>
            <pc:docMk/>
            <pc:sldMk cId="3208853939" sldId="339"/>
            <ac:picMk id="4" creationId="{DD5D34CA-6A36-465E-AECC-E095B7A4DAD8}"/>
          </ac:picMkLst>
        </pc:picChg>
        <pc:picChg chg="mod">
          <ac:chgData name="Kory Thacher (APPS / POWERSHELL)" userId="995eb0f2-f21c-467c-a947-4f8fc26d0f2e" providerId="ADAL" clId="{ECC18E1D-4B37-4A7A-AEA5-184A6DBB9E07}" dt="2021-07-26T22:29:30.496" v="5979" actId="1362"/>
          <ac:picMkLst>
            <pc:docMk/>
            <pc:sldMk cId="3208853939" sldId="339"/>
            <ac:picMk id="8" creationId="{C70FDF3E-49EC-49A1-963F-C57873C22A35}"/>
          </ac:picMkLst>
        </pc:picChg>
      </pc:sldChg>
      <pc:sldChg chg="addSp delSp modSp add mod modShow modNotesTx">
        <pc:chgData name="Kory Thacher (APPS / POWERSHELL)" userId="995eb0f2-f21c-467c-a947-4f8fc26d0f2e" providerId="ADAL" clId="{ECC18E1D-4B37-4A7A-AEA5-184A6DBB9E07}" dt="2021-07-26T23:01:47.196" v="6183" actId="20577"/>
        <pc:sldMkLst>
          <pc:docMk/>
          <pc:sldMk cId="38870530" sldId="340"/>
        </pc:sldMkLst>
        <pc:spChg chg="del mod">
          <ac:chgData name="Kory Thacher (APPS / POWERSHELL)" userId="995eb0f2-f21c-467c-a947-4f8fc26d0f2e" providerId="ADAL" clId="{ECC18E1D-4B37-4A7A-AEA5-184A6DBB9E07}" dt="2021-07-16T19:18:34.603" v="3720" actId="12084"/>
          <ac:spMkLst>
            <pc:docMk/>
            <pc:sldMk cId="38870530" sldId="340"/>
            <ac:spMk id="6" creationId="{8D7DD5BE-77DB-495A-B1AE-1384580FB307}"/>
          </ac:spMkLst>
        </pc:spChg>
        <pc:graphicFrameChg chg="add mod">
          <ac:chgData name="Kory Thacher (APPS / POWERSHELL)" userId="995eb0f2-f21c-467c-a947-4f8fc26d0f2e" providerId="ADAL" clId="{ECC18E1D-4B37-4A7A-AEA5-184A6DBB9E07}" dt="2021-07-16T19:30:14.192" v="3799" actId="113"/>
          <ac:graphicFrameMkLst>
            <pc:docMk/>
            <pc:sldMk cId="38870530" sldId="340"/>
            <ac:graphicFrameMk id="2" creationId="{D69881B0-814B-4753-9A0C-C47A84417BA9}"/>
          </ac:graphicFrameMkLst>
        </pc:graphicFrameChg>
        <pc:graphicFrameChg chg="mod">
          <ac:chgData name="Kory Thacher (APPS / POWERSHELL)" userId="995eb0f2-f21c-467c-a947-4f8fc26d0f2e" providerId="ADAL" clId="{ECC18E1D-4B37-4A7A-AEA5-184A6DBB9E07}" dt="2021-07-16T19:20:53.953" v="3754" actId="14100"/>
          <ac:graphicFrameMkLst>
            <pc:docMk/>
            <pc:sldMk cId="38870530" sldId="340"/>
            <ac:graphicFrameMk id="5" creationId="{5F9C3BDE-9FD9-4CAA-B582-1568F015BD7D}"/>
          </ac:graphicFrameMkLst>
        </pc:graphicFrameChg>
      </pc:sldChg>
      <pc:sldChg chg="addSp delSp modSp add mod modShow modNotesTx">
        <pc:chgData name="Kory Thacher (APPS / POWERSHELL)" userId="995eb0f2-f21c-467c-a947-4f8fc26d0f2e" providerId="ADAL" clId="{ECC18E1D-4B37-4A7A-AEA5-184A6DBB9E07}" dt="2021-07-26T23:09:07.627" v="6229" actId="20577"/>
        <pc:sldMkLst>
          <pc:docMk/>
          <pc:sldMk cId="2058050693" sldId="341"/>
        </pc:sldMkLst>
        <pc:spChg chg="mod">
          <ac:chgData name="Kory Thacher (APPS / POWERSHELL)" userId="995eb0f2-f21c-467c-a947-4f8fc26d0f2e" providerId="ADAL" clId="{ECC18E1D-4B37-4A7A-AEA5-184A6DBB9E07}" dt="2021-07-16T18:57:27.101" v="3416" actId="20577"/>
          <ac:spMkLst>
            <pc:docMk/>
            <pc:sldMk cId="2058050693" sldId="341"/>
            <ac:spMk id="3" creationId="{276763AC-E01B-45D0-806A-1F2948DFF0A8}"/>
          </ac:spMkLst>
        </pc:spChg>
        <pc:spChg chg="del mod">
          <ac:chgData name="Kory Thacher (APPS / POWERSHELL)" userId="995eb0f2-f21c-467c-a947-4f8fc26d0f2e" providerId="ADAL" clId="{ECC18E1D-4B37-4A7A-AEA5-184A6DBB9E07}" dt="2021-07-16T18:14:42.993" v="2945" actId="12084"/>
          <ac:spMkLst>
            <pc:docMk/>
            <pc:sldMk cId="2058050693" sldId="341"/>
            <ac:spMk id="6" creationId="{8D7DD5BE-77DB-495A-B1AE-1384580FB307}"/>
          </ac:spMkLst>
        </pc:spChg>
        <pc:spChg chg="add mod">
          <ac:chgData name="Kory Thacher (APPS / POWERSHELL)" userId="995eb0f2-f21c-467c-a947-4f8fc26d0f2e" providerId="ADAL" clId="{ECC18E1D-4B37-4A7A-AEA5-184A6DBB9E07}" dt="2021-07-26T23:09:07.627" v="6229" actId="20577"/>
          <ac:spMkLst>
            <pc:docMk/>
            <pc:sldMk cId="2058050693" sldId="341"/>
            <ac:spMk id="7" creationId="{070693A1-62E7-423C-A235-D9950BC7BAA0}"/>
          </ac:spMkLst>
        </pc:spChg>
        <pc:spChg chg="mod">
          <ac:chgData name="Kory Thacher (APPS / POWERSHELL)" userId="995eb0f2-f21c-467c-a947-4f8fc26d0f2e" providerId="ADAL" clId="{ECC18E1D-4B37-4A7A-AEA5-184A6DBB9E07}" dt="2021-07-16T18:20:48.060" v="2974" actId="18245"/>
          <ac:spMkLst>
            <pc:docMk/>
            <pc:sldMk cId="2058050693" sldId="341"/>
            <ac:spMk id="8" creationId="{6CE01607-8193-465C-9F6C-8DC31468E08A}"/>
          </ac:spMkLst>
        </pc:spChg>
        <pc:spChg chg="mod ord">
          <ac:chgData name="Kory Thacher (APPS / POWERSHELL)" userId="995eb0f2-f21c-467c-a947-4f8fc26d0f2e" providerId="ADAL" clId="{ECC18E1D-4B37-4A7A-AEA5-184A6DBB9E07}" dt="2021-07-16T18:20:48.060" v="2974" actId="18245"/>
          <ac:spMkLst>
            <pc:docMk/>
            <pc:sldMk cId="2058050693" sldId="341"/>
            <ac:spMk id="9" creationId="{C3E4767E-B873-42FE-A74E-57F03958D55E}"/>
          </ac:spMkLst>
        </pc:spChg>
        <pc:spChg chg="mod">
          <ac:chgData name="Kory Thacher (APPS / POWERSHELL)" userId="995eb0f2-f21c-467c-a947-4f8fc26d0f2e" providerId="ADAL" clId="{ECC18E1D-4B37-4A7A-AEA5-184A6DBB9E07}" dt="2021-07-16T18:20:48.060" v="2974" actId="18245"/>
          <ac:spMkLst>
            <pc:docMk/>
            <pc:sldMk cId="2058050693" sldId="341"/>
            <ac:spMk id="10" creationId="{65A30F7A-60C5-447A-9B87-1DDDA6661AC8}"/>
          </ac:spMkLst>
        </pc:spChg>
        <pc:spChg chg="mod ord">
          <ac:chgData name="Kory Thacher (APPS / POWERSHELL)" userId="995eb0f2-f21c-467c-a947-4f8fc26d0f2e" providerId="ADAL" clId="{ECC18E1D-4B37-4A7A-AEA5-184A6DBB9E07}" dt="2021-07-16T18:20:48.060" v="2974" actId="18245"/>
          <ac:spMkLst>
            <pc:docMk/>
            <pc:sldMk cId="2058050693" sldId="341"/>
            <ac:spMk id="11" creationId="{1F930C43-253B-48AC-9DCF-81343302C5E6}"/>
          </ac:spMkLst>
        </pc:spChg>
        <pc:spChg chg="mod">
          <ac:chgData name="Kory Thacher (APPS / POWERSHELL)" userId="995eb0f2-f21c-467c-a947-4f8fc26d0f2e" providerId="ADAL" clId="{ECC18E1D-4B37-4A7A-AEA5-184A6DBB9E07}" dt="2021-07-16T18:20:48.060" v="2974" actId="18245"/>
          <ac:spMkLst>
            <pc:docMk/>
            <pc:sldMk cId="2058050693" sldId="341"/>
            <ac:spMk id="12" creationId="{A9A129EA-8E01-4F43-80E5-3143BAF8BCDD}"/>
          </ac:spMkLst>
        </pc:spChg>
        <pc:spChg chg="mod ord">
          <ac:chgData name="Kory Thacher (APPS / POWERSHELL)" userId="995eb0f2-f21c-467c-a947-4f8fc26d0f2e" providerId="ADAL" clId="{ECC18E1D-4B37-4A7A-AEA5-184A6DBB9E07}" dt="2021-07-16T18:20:48.060" v="2974" actId="18245"/>
          <ac:spMkLst>
            <pc:docMk/>
            <pc:sldMk cId="2058050693" sldId="341"/>
            <ac:spMk id="13" creationId="{12FD4A94-B808-4858-8306-0EC5B500FFC9}"/>
          </ac:spMkLst>
        </pc:spChg>
        <pc:spChg chg="mod">
          <ac:chgData name="Kory Thacher (APPS / POWERSHELL)" userId="995eb0f2-f21c-467c-a947-4f8fc26d0f2e" providerId="ADAL" clId="{ECC18E1D-4B37-4A7A-AEA5-184A6DBB9E07}" dt="2021-07-16T18:20:48.060" v="2974" actId="18245"/>
          <ac:spMkLst>
            <pc:docMk/>
            <pc:sldMk cId="2058050693" sldId="341"/>
            <ac:spMk id="14" creationId="{5B6A594E-F299-44E0-A625-EA72A227C5FC}"/>
          </ac:spMkLst>
        </pc:spChg>
        <pc:spChg chg="mod ord">
          <ac:chgData name="Kory Thacher (APPS / POWERSHELL)" userId="995eb0f2-f21c-467c-a947-4f8fc26d0f2e" providerId="ADAL" clId="{ECC18E1D-4B37-4A7A-AEA5-184A6DBB9E07}" dt="2021-07-16T18:20:47.629" v="2973" actId="167"/>
          <ac:spMkLst>
            <pc:docMk/>
            <pc:sldMk cId="2058050693" sldId="341"/>
            <ac:spMk id="15" creationId="{73F44D2E-5C75-4849-8E75-CC1009AEB365}"/>
          </ac:spMkLst>
        </pc:spChg>
        <pc:spChg chg="add del mod">
          <ac:chgData name="Kory Thacher (APPS / POWERSHELL)" userId="995eb0f2-f21c-467c-a947-4f8fc26d0f2e" providerId="ADAL" clId="{ECC18E1D-4B37-4A7A-AEA5-184A6DBB9E07}" dt="2021-07-16T18:36:27.675" v="3002" actId="478"/>
          <ac:spMkLst>
            <pc:docMk/>
            <pc:sldMk cId="2058050693" sldId="341"/>
            <ac:spMk id="16" creationId="{98750281-7B24-472D-8C08-C27298AA82A5}"/>
          </ac:spMkLst>
        </pc:spChg>
        <pc:grpChg chg="mod">
          <ac:chgData name="Kory Thacher (APPS / POWERSHELL)" userId="995eb0f2-f21c-467c-a947-4f8fc26d0f2e" providerId="ADAL" clId="{ECC18E1D-4B37-4A7A-AEA5-184A6DBB9E07}" dt="2021-07-16T18:20:48.060" v="2974" actId="18245"/>
          <ac:grpSpMkLst>
            <pc:docMk/>
            <pc:sldMk cId="2058050693" sldId="341"/>
            <ac:grpSpMk id="4" creationId="{ACFD8D26-1DB6-4CCB-AF4B-3C70C29D3142}"/>
          </ac:grpSpMkLst>
        </pc:grpChg>
        <pc:graphicFrameChg chg="add del mod">
          <ac:chgData name="Kory Thacher (APPS / POWERSHELL)" userId="995eb0f2-f21c-467c-a947-4f8fc26d0f2e" providerId="ADAL" clId="{ECC18E1D-4B37-4A7A-AEA5-184A6DBB9E07}" dt="2021-07-16T18:56:12.882" v="3400" actId="12100"/>
          <ac:graphicFrameMkLst>
            <pc:docMk/>
            <pc:sldMk cId="2058050693" sldId="341"/>
            <ac:graphicFrameMk id="2" creationId="{7F3CE839-8BF9-40C4-9768-A02DE1FEE5C5}"/>
          </ac:graphicFrameMkLst>
        </pc:graphicFrameChg>
        <pc:graphicFrameChg chg="mod">
          <ac:chgData name="Kory Thacher (APPS / POWERSHELL)" userId="995eb0f2-f21c-467c-a947-4f8fc26d0f2e" providerId="ADAL" clId="{ECC18E1D-4B37-4A7A-AEA5-184A6DBB9E07}" dt="2021-07-16T18:56:49.248" v="3404" actId="20577"/>
          <ac:graphicFrameMkLst>
            <pc:docMk/>
            <pc:sldMk cId="2058050693" sldId="341"/>
            <ac:graphicFrameMk id="5" creationId="{5F9C3BDE-9FD9-4CAA-B582-1568F015BD7D}"/>
          </ac:graphicFrameMkLst>
        </pc:graphicFrameChg>
      </pc:sldChg>
      <pc:sldChg chg="addSp delSp modSp mod modNotesTx">
        <pc:chgData name="Kory Thacher (APPS / POWERSHELL)" userId="995eb0f2-f21c-467c-a947-4f8fc26d0f2e" providerId="ADAL" clId="{ECC18E1D-4B37-4A7A-AEA5-184A6DBB9E07}" dt="2021-07-26T23:09:46.108" v="6231" actId="20577"/>
        <pc:sldMkLst>
          <pc:docMk/>
          <pc:sldMk cId="3726154376" sldId="342"/>
        </pc:sldMkLst>
        <pc:spChg chg="del mod">
          <ac:chgData name="Kory Thacher (APPS / POWERSHELL)" userId="995eb0f2-f21c-467c-a947-4f8fc26d0f2e" providerId="ADAL" clId="{ECC18E1D-4B37-4A7A-AEA5-184A6DBB9E07}" dt="2021-07-16T19:11:24.344" v="3675" actId="12084"/>
          <ac:spMkLst>
            <pc:docMk/>
            <pc:sldMk cId="3726154376" sldId="342"/>
            <ac:spMk id="4" creationId="{4400EEA3-45CD-49E9-88B7-F638D10CFF1D}"/>
          </ac:spMkLst>
        </pc:spChg>
        <pc:spChg chg="add mod">
          <ac:chgData name="Kory Thacher (APPS / POWERSHELL)" userId="995eb0f2-f21c-467c-a947-4f8fc26d0f2e" providerId="ADAL" clId="{ECC18E1D-4B37-4A7A-AEA5-184A6DBB9E07}" dt="2021-07-16T19:17:39.168" v="3719" actId="1076"/>
          <ac:spMkLst>
            <pc:docMk/>
            <pc:sldMk cId="3726154376" sldId="342"/>
            <ac:spMk id="6" creationId="{D82E2689-D35E-4E42-944C-E26B472C9C28}"/>
          </ac:spMkLst>
        </pc:spChg>
        <pc:spChg chg="mod">
          <ac:chgData name="Kory Thacher (APPS / POWERSHELL)" userId="995eb0f2-f21c-467c-a947-4f8fc26d0f2e" providerId="ADAL" clId="{ECC18E1D-4B37-4A7A-AEA5-184A6DBB9E07}" dt="2021-07-26T22:44:47.531" v="6008" actId="20577"/>
          <ac:spMkLst>
            <pc:docMk/>
            <pc:sldMk cId="3726154376" sldId="342"/>
            <ac:spMk id="7" creationId="{070693A1-62E7-423C-A235-D9950BC7BAA0}"/>
          </ac:spMkLst>
        </pc:spChg>
        <pc:graphicFrameChg chg="mod">
          <ac:chgData name="Kory Thacher (APPS / POWERSHELL)" userId="995eb0f2-f21c-467c-a947-4f8fc26d0f2e" providerId="ADAL" clId="{ECC18E1D-4B37-4A7A-AEA5-184A6DBB9E07}" dt="2021-07-26T23:09:46.108" v="6231" actId="20577"/>
          <ac:graphicFrameMkLst>
            <pc:docMk/>
            <pc:sldMk cId="3726154376" sldId="342"/>
            <ac:graphicFrameMk id="5" creationId="{5F9C3BDE-9FD9-4CAA-B582-1568F015BD7D}"/>
          </ac:graphicFrameMkLst>
        </pc:graphicFrameChg>
        <pc:graphicFrameChg chg="add mod">
          <ac:chgData name="Kory Thacher (APPS / POWERSHELL)" userId="995eb0f2-f21c-467c-a947-4f8fc26d0f2e" providerId="ADAL" clId="{ECC18E1D-4B37-4A7A-AEA5-184A6DBB9E07}" dt="2021-07-16T19:17:15.907" v="3716" actId="12100"/>
          <ac:graphicFrameMkLst>
            <pc:docMk/>
            <pc:sldMk cId="3726154376" sldId="342"/>
            <ac:graphicFrameMk id="8" creationId="{FFC63A07-72B1-4313-98CC-03728DE61CAA}"/>
          </ac:graphicFrameMkLst>
        </pc:graphicFrameChg>
      </pc:sldChg>
      <pc:sldChg chg="modSp add del">
        <pc:chgData name="Kory Thacher (APPS / POWERSHELL)" userId="995eb0f2-f21c-467c-a947-4f8fc26d0f2e" providerId="ADAL" clId="{ECC18E1D-4B37-4A7A-AEA5-184A6DBB9E07}" dt="2021-07-16T19:30:40.531" v="3801" actId="47"/>
        <pc:sldMkLst>
          <pc:docMk/>
          <pc:sldMk cId="840422324" sldId="343"/>
        </pc:sldMkLst>
        <pc:graphicFrameChg chg="mod">
          <ac:chgData name="Kory Thacher (APPS / POWERSHELL)" userId="995eb0f2-f21c-467c-a947-4f8fc26d0f2e" providerId="ADAL" clId="{ECC18E1D-4B37-4A7A-AEA5-184A6DBB9E07}" dt="2021-07-16T19:30:34.282" v="3800" actId="13782"/>
          <ac:graphicFrameMkLst>
            <pc:docMk/>
            <pc:sldMk cId="840422324" sldId="343"/>
            <ac:graphicFrameMk id="2" creationId="{D69881B0-814B-4753-9A0C-C47A84417BA9}"/>
          </ac:graphicFrameMkLst>
        </pc:graphicFrameChg>
      </pc:sldChg>
      <pc:sldChg chg="addSp delSp modSp add del mod">
        <pc:chgData name="Kory Thacher (APPS / POWERSHELL)" userId="995eb0f2-f21c-467c-a947-4f8fc26d0f2e" providerId="ADAL" clId="{ECC18E1D-4B37-4A7A-AEA5-184A6DBB9E07}" dt="2021-07-16T20:02:32.986" v="4713" actId="47"/>
        <pc:sldMkLst>
          <pc:docMk/>
          <pc:sldMk cId="2919490121" sldId="343"/>
        </pc:sldMkLst>
        <pc:spChg chg="del">
          <ac:chgData name="Kory Thacher (APPS / POWERSHELL)" userId="995eb0f2-f21c-467c-a947-4f8fc26d0f2e" providerId="ADAL" clId="{ECC18E1D-4B37-4A7A-AEA5-184A6DBB9E07}" dt="2021-07-16T19:53:55.350" v="4588" actId="12084"/>
          <ac:spMkLst>
            <pc:docMk/>
            <pc:sldMk cId="2919490121" sldId="343"/>
            <ac:spMk id="3" creationId="{37FADCF0-A986-43DD-A118-C6AB1779E701}"/>
          </ac:spMkLst>
        </pc:spChg>
        <pc:graphicFrameChg chg="add mod modGraphic">
          <ac:chgData name="Kory Thacher (APPS / POWERSHELL)" userId="995eb0f2-f21c-467c-a947-4f8fc26d0f2e" providerId="ADAL" clId="{ECC18E1D-4B37-4A7A-AEA5-184A6DBB9E07}" dt="2021-07-16T19:58:56.658" v="4659" actId="14100"/>
          <ac:graphicFrameMkLst>
            <pc:docMk/>
            <pc:sldMk cId="2919490121" sldId="343"/>
            <ac:graphicFrameMk id="4" creationId="{86BE3129-2846-4B23-8DEE-12DE4AF3B740}"/>
          </ac:graphicFrameMkLst>
        </pc:graphicFrameChg>
      </pc:sldChg>
      <pc:sldChg chg="addSp delSp modSp add del mod">
        <pc:chgData name="Kory Thacher (APPS / POWERSHELL)" userId="995eb0f2-f21c-467c-a947-4f8fc26d0f2e" providerId="ADAL" clId="{ECC18E1D-4B37-4A7A-AEA5-184A6DBB9E07}" dt="2021-07-26T21:45:19.930" v="5080" actId="47"/>
        <pc:sldMkLst>
          <pc:docMk/>
          <pc:sldMk cId="3210394503" sldId="344"/>
        </pc:sldMkLst>
        <pc:spChg chg="del">
          <ac:chgData name="Kory Thacher (APPS / POWERSHELL)" userId="995eb0f2-f21c-467c-a947-4f8fc26d0f2e" providerId="ADAL" clId="{ECC18E1D-4B37-4A7A-AEA5-184A6DBB9E07}" dt="2021-07-16T19:59:18.616" v="4661" actId="12084"/>
          <ac:spMkLst>
            <pc:docMk/>
            <pc:sldMk cId="3210394503" sldId="344"/>
            <ac:spMk id="3" creationId="{37FADCF0-A986-43DD-A118-C6AB1779E701}"/>
          </ac:spMkLst>
        </pc:spChg>
        <pc:spChg chg="mod">
          <ac:chgData name="Kory Thacher (APPS / POWERSHELL)" userId="995eb0f2-f21c-467c-a947-4f8fc26d0f2e" providerId="ADAL" clId="{ECC18E1D-4B37-4A7A-AEA5-184A6DBB9E07}" dt="2021-07-16T20:02:15.678" v="4711" actId="20577"/>
          <ac:spMkLst>
            <pc:docMk/>
            <pc:sldMk cId="3210394503" sldId="344"/>
            <ac:spMk id="5" creationId="{A000310B-4532-4F07-8810-5095C1D640F1}"/>
          </ac:spMkLst>
        </pc:spChg>
        <pc:graphicFrameChg chg="add mod modGraphic">
          <ac:chgData name="Kory Thacher (APPS / POWERSHELL)" userId="995eb0f2-f21c-467c-a947-4f8fc26d0f2e" providerId="ADAL" clId="{ECC18E1D-4B37-4A7A-AEA5-184A6DBB9E07}" dt="2021-07-16T20:00:57.006" v="4703" actId="14100"/>
          <ac:graphicFrameMkLst>
            <pc:docMk/>
            <pc:sldMk cId="3210394503" sldId="344"/>
            <ac:graphicFrameMk id="4" creationId="{9ABB945D-B825-4964-938F-6E414FFEE80F}"/>
          </ac:graphicFrameMkLst>
        </pc:graphicFrameChg>
      </pc:sldChg>
      <pc:sldChg chg="modSp add del mod">
        <pc:chgData name="Kory Thacher (APPS / POWERSHELL)" userId="995eb0f2-f21c-467c-a947-4f8fc26d0f2e" providerId="ADAL" clId="{ECC18E1D-4B37-4A7A-AEA5-184A6DBB9E07}" dt="2021-07-16T20:09:48.745" v="4994" actId="47"/>
        <pc:sldMkLst>
          <pc:docMk/>
          <pc:sldMk cId="2515086604" sldId="345"/>
        </pc:sldMkLst>
        <pc:graphicFrameChg chg="mod modGraphic">
          <ac:chgData name="Kory Thacher (APPS / POWERSHELL)" userId="995eb0f2-f21c-467c-a947-4f8fc26d0f2e" providerId="ADAL" clId="{ECC18E1D-4B37-4A7A-AEA5-184A6DBB9E07}" dt="2021-07-16T20:03:45.382" v="4728" actId="255"/>
          <ac:graphicFrameMkLst>
            <pc:docMk/>
            <pc:sldMk cId="2515086604" sldId="345"/>
            <ac:graphicFrameMk id="4" creationId="{9ABB945D-B825-4964-938F-6E414FFEE80F}"/>
          </ac:graphicFrameMkLst>
        </pc:graphicFrameChg>
      </pc:sldChg>
      <pc:sldChg chg="modSp add del mod">
        <pc:chgData name="Kory Thacher (APPS / POWERSHELL)" userId="995eb0f2-f21c-467c-a947-4f8fc26d0f2e" providerId="ADAL" clId="{ECC18E1D-4B37-4A7A-AEA5-184A6DBB9E07}" dt="2021-07-16T20:09:48.745" v="4994" actId="47"/>
        <pc:sldMkLst>
          <pc:docMk/>
          <pc:sldMk cId="679832579" sldId="346"/>
        </pc:sldMkLst>
        <pc:graphicFrameChg chg="mod">
          <ac:chgData name="Kory Thacher (APPS / POWERSHELL)" userId="995eb0f2-f21c-467c-a947-4f8fc26d0f2e" providerId="ADAL" clId="{ECC18E1D-4B37-4A7A-AEA5-184A6DBB9E07}" dt="2021-07-16T20:04:11.597" v="4732" actId="14100"/>
          <ac:graphicFrameMkLst>
            <pc:docMk/>
            <pc:sldMk cId="679832579" sldId="346"/>
            <ac:graphicFrameMk id="4" creationId="{9ABB945D-B825-4964-938F-6E414FFEE80F}"/>
          </ac:graphicFrameMkLst>
        </pc:graphicFrameChg>
      </pc:sldChg>
      <pc:sldChg chg="modSp add del">
        <pc:chgData name="Kory Thacher (APPS / POWERSHELL)" userId="995eb0f2-f21c-467c-a947-4f8fc26d0f2e" providerId="ADAL" clId="{ECC18E1D-4B37-4A7A-AEA5-184A6DBB9E07}" dt="2021-07-26T21:39:32.011" v="5009" actId="47"/>
        <pc:sldMkLst>
          <pc:docMk/>
          <pc:sldMk cId="1847705716" sldId="347"/>
        </pc:sldMkLst>
        <pc:graphicFrameChg chg="mod">
          <ac:chgData name="Kory Thacher (APPS / POWERSHELL)" userId="995eb0f2-f21c-467c-a947-4f8fc26d0f2e" providerId="ADAL" clId="{ECC18E1D-4B37-4A7A-AEA5-184A6DBB9E07}" dt="2021-07-16T20:04:21.637" v="4734" actId="13782"/>
          <ac:graphicFrameMkLst>
            <pc:docMk/>
            <pc:sldMk cId="1847705716" sldId="347"/>
            <ac:graphicFrameMk id="4" creationId="{9ABB945D-B825-4964-938F-6E414FFEE80F}"/>
          </ac:graphicFrameMkLst>
        </pc:graphicFrameChg>
      </pc:sldChg>
      <pc:sldChg chg="addSp delSp modSp add del">
        <pc:chgData name="Kory Thacher (APPS / POWERSHELL)" userId="995eb0f2-f21c-467c-a947-4f8fc26d0f2e" providerId="ADAL" clId="{ECC18E1D-4B37-4A7A-AEA5-184A6DBB9E07}" dt="2021-07-16T20:09:48.745" v="4994" actId="47"/>
        <pc:sldMkLst>
          <pc:docMk/>
          <pc:sldMk cId="3884179773" sldId="348"/>
        </pc:sldMkLst>
        <pc:graphicFrameChg chg="mod">
          <ac:chgData name="Kory Thacher (APPS / POWERSHELL)" userId="995eb0f2-f21c-467c-a947-4f8fc26d0f2e" providerId="ADAL" clId="{ECC18E1D-4B37-4A7A-AEA5-184A6DBB9E07}" dt="2021-07-16T20:04:46.452" v="4736" actId="13782"/>
          <ac:graphicFrameMkLst>
            <pc:docMk/>
            <pc:sldMk cId="3884179773" sldId="348"/>
            <ac:graphicFrameMk id="4" creationId="{9ABB945D-B825-4964-938F-6E414FFEE80F}"/>
          </ac:graphicFrameMkLst>
        </pc:graphicFrameChg>
        <pc:graphicFrameChg chg="add del mod">
          <ac:chgData name="Kory Thacher (APPS / POWERSHELL)" userId="995eb0f2-f21c-467c-a947-4f8fc26d0f2e" providerId="ADAL" clId="{ECC18E1D-4B37-4A7A-AEA5-184A6DBB9E07}" dt="2021-07-16T20:04:50.011" v="4738"/>
          <ac:graphicFrameMkLst>
            <pc:docMk/>
            <pc:sldMk cId="3884179773" sldId="348"/>
            <ac:graphicFrameMk id="6" creationId="{F77E2C5D-D8D2-4541-9FD8-7B52D71FD463}"/>
          </ac:graphicFrameMkLst>
        </pc:graphicFrameChg>
      </pc:sldChg>
      <pc:sldChg chg="modSp add del mod">
        <pc:chgData name="Kory Thacher (APPS / POWERSHELL)" userId="995eb0f2-f21c-467c-a947-4f8fc26d0f2e" providerId="ADAL" clId="{ECC18E1D-4B37-4A7A-AEA5-184A6DBB9E07}" dt="2021-07-26T21:45:01.756" v="5079" actId="47"/>
        <pc:sldMkLst>
          <pc:docMk/>
          <pc:sldMk cId="408878588" sldId="349"/>
        </pc:sldMkLst>
        <pc:graphicFrameChg chg="mod">
          <ac:chgData name="Kory Thacher (APPS / POWERSHELL)" userId="995eb0f2-f21c-467c-a947-4f8fc26d0f2e" providerId="ADAL" clId="{ECC18E1D-4B37-4A7A-AEA5-184A6DBB9E07}" dt="2021-07-26T21:42:31.050" v="5055" actId="255"/>
          <ac:graphicFrameMkLst>
            <pc:docMk/>
            <pc:sldMk cId="408878588" sldId="349"/>
            <ac:graphicFrameMk id="4" creationId="{9ABB945D-B825-4964-938F-6E414FFEE80F}"/>
          </ac:graphicFrameMkLst>
        </pc:graphicFrameChg>
      </pc:sldChg>
      <pc:sldChg chg="modSp add mod modShow">
        <pc:chgData name="Kory Thacher (APPS / POWERSHELL)" userId="995eb0f2-f21c-467c-a947-4f8fc26d0f2e" providerId="ADAL" clId="{ECC18E1D-4B37-4A7A-AEA5-184A6DBB9E07}" dt="2021-07-26T21:45:25.600" v="5081" actId="729"/>
        <pc:sldMkLst>
          <pc:docMk/>
          <pc:sldMk cId="2153541095" sldId="350"/>
        </pc:sldMkLst>
        <pc:graphicFrameChg chg="mod">
          <ac:chgData name="Kory Thacher (APPS / POWERSHELL)" userId="995eb0f2-f21c-467c-a947-4f8fc26d0f2e" providerId="ADAL" clId="{ECC18E1D-4B37-4A7A-AEA5-184A6DBB9E07}" dt="2021-07-26T21:44:51.940" v="5078" actId="14100"/>
          <ac:graphicFrameMkLst>
            <pc:docMk/>
            <pc:sldMk cId="2153541095" sldId="350"/>
            <ac:graphicFrameMk id="4" creationId="{9ABB945D-B825-4964-938F-6E414FFEE80F}"/>
          </ac:graphicFrameMkLst>
        </pc:graphicFrameChg>
      </pc:sldChg>
      <pc:sldChg chg="add">
        <pc:chgData name="Kory Thacher (APPS / POWERSHELL)" userId="995eb0f2-f21c-467c-a947-4f8fc26d0f2e" providerId="ADAL" clId="{ECC18E1D-4B37-4A7A-AEA5-184A6DBB9E07}" dt="2021-07-26T21:43:30.930" v="5058"/>
        <pc:sldMkLst>
          <pc:docMk/>
          <pc:sldMk cId="2491968441" sldId="351"/>
        </pc:sldMkLst>
      </pc:sldChg>
      <pc:sldChg chg="modSp del">
        <pc:chgData name="Kory Thacher (APPS / POWERSHELL)" userId="995eb0f2-f21c-467c-a947-4f8fc26d0f2e" providerId="ADAL" clId="{ECC18E1D-4B37-4A7A-AEA5-184A6DBB9E07}" dt="2021-07-26T23:18:25.399" v="6246" actId="47"/>
        <pc:sldMkLst>
          <pc:docMk/>
          <pc:sldMk cId="2706938236" sldId="351"/>
        </pc:sldMkLst>
        <pc:graphicFrameChg chg="mod">
          <ac:chgData name="Kory Thacher (APPS / POWERSHELL)" userId="995eb0f2-f21c-467c-a947-4f8fc26d0f2e" providerId="ADAL" clId="{ECC18E1D-4B37-4A7A-AEA5-184A6DBB9E07}" dt="2021-07-26T23:18:16.659" v="6244"/>
          <ac:graphicFrameMkLst>
            <pc:docMk/>
            <pc:sldMk cId="2706938236" sldId="351"/>
            <ac:graphicFrameMk id="7" creationId="{7368B303-CF16-4220-B838-8FA9A1A56F31}"/>
          </ac:graphicFrameMkLst>
        </pc:graphicFrameChg>
      </pc:sldChg>
      <pc:sldChg chg="del">
        <pc:chgData name="Kory Thacher (APPS / POWERSHELL)" userId="995eb0f2-f21c-467c-a947-4f8fc26d0f2e" providerId="ADAL" clId="{ECC18E1D-4B37-4A7A-AEA5-184A6DBB9E07}" dt="2021-07-26T23:17:03.034" v="6237" actId="47"/>
        <pc:sldMkLst>
          <pc:docMk/>
          <pc:sldMk cId="1098757792" sldId="352"/>
        </pc:sldMkLst>
      </pc:sldChg>
      <pc:sldChg chg="modSp del mod">
        <pc:chgData name="Kory Thacher (APPS / POWERSHELL)" userId="995eb0f2-f21c-467c-a947-4f8fc26d0f2e" providerId="ADAL" clId="{ECC18E1D-4B37-4A7A-AEA5-184A6DBB9E07}" dt="2021-07-26T21:44:09.858" v="5060" actId="47"/>
        <pc:sldMkLst>
          <pc:docMk/>
          <pc:sldMk cId="2491968441" sldId="352"/>
        </pc:sldMkLst>
        <pc:graphicFrameChg chg="mod">
          <ac:chgData name="Kory Thacher (APPS / POWERSHELL)" userId="995eb0f2-f21c-467c-a947-4f8fc26d0f2e" providerId="ADAL" clId="{ECC18E1D-4B37-4A7A-AEA5-184A6DBB9E07}" dt="2021-07-26T21:43:55.148" v="5059" actId="14100"/>
          <ac:graphicFrameMkLst>
            <pc:docMk/>
            <pc:sldMk cId="2491968441" sldId="352"/>
            <ac:graphicFrameMk id="4" creationId="{9ABB945D-B825-4964-938F-6E414FFEE80F}"/>
          </ac:graphicFrameMkLst>
        </pc:graphicFrameChg>
      </pc:sldChg>
      <pc:sldChg chg="modSp add del setBg">
        <pc:chgData name="Kory Thacher (APPS / POWERSHELL)" userId="995eb0f2-f21c-467c-a947-4f8fc26d0f2e" providerId="ADAL" clId="{ECC18E1D-4B37-4A7A-AEA5-184A6DBB9E07}" dt="2021-07-26T23:18:24.527" v="6245" actId="47"/>
        <pc:sldMkLst>
          <pc:docMk/>
          <pc:sldMk cId="2265568619" sldId="353"/>
        </pc:sldMkLst>
        <pc:graphicFrameChg chg="mod">
          <ac:chgData name="Kory Thacher (APPS / POWERSHELL)" userId="995eb0f2-f21c-467c-a947-4f8fc26d0f2e" providerId="ADAL" clId="{ECC18E1D-4B37-4A7A-AEA5-184A6DBB9E07}" dt="2021-07-26T23:16:39.090" v="6236" actId="18653"/>
          <ac:graphicFrameMkLst>
            <pc:docMk/>
            <pc:sldMk cId="2265568619" sldId="353"/>
            <ac:graphicFrameMk id="7" creationId="{7368B303-CF16-4220-B838-8FA9A1A56F31}"/>
          </ac:graphicFrameMkLst>
        </pc:graphicFrameChg>
      </pc:sldChg>
      <pc:sldChg chg="modSp add setBg">
        <pc:chgData name="Kory Thacher (APPS / POWERSHELL)" userId="995eb0f2-f21c-467c-a947-4f8fc26d0f2e" providerId="ADAL" clId="{ECC18E1D-4B37-4A7A-AEA5-184A6DBB9E07}" dt="2021-07-26T23:18:34.253" v="6247" actId="12100"/>
        <pc:sldMkLst>
          <pc:docMk/>
          <pc:sldMk cId="1009553674" sldId="354"/>
        </pc:sldMkLst>
        <pc:graphicFrameChg chg="mod">
          <ac:chgData name="Kory Thacher (APPS / POWERSHELL)" userId="995eb0f2-f21c-467c-a947-4f8fc26d0f2e" providerId="ADAL" clId="{ECC18E1D-4B37-4A7A-AEA5-184A6DBB9E07}" dt="2021-07-26T23:18:34.253" v="6247" actId="12100"/>
          <ac:graphicFrameMkLst>
            <pc:docMk/>
            <pc:sldMk cId="1009553674" sldId="354"/>
            <ac:graphicFrameMk id="7" creationId="{7368B303-CF16-4220-B838-8FA9A1A56F31}"/>
          </ac:graphicFrameMkLst>
        </pc:graphicFrameChg>
      </pc:sldChg>
    </pc:docChg>
  </pc:docChgLst>
  <pc:docChgLst>
    <pc:chgData name="Tony Radkiewicz" userId="9832534a-7e4f-4058-9c41-7f4a5b855c95" providerId="ADAL" clId="{FDA6683D-9326-4144-AA21-22F03B2932EF}"/>
    <pc:docChg chg="undo redo custSel addSld delSld modSld sldOrd delSection modSection">
      <pc:chgData name="Tony Radkiewicz" userId="9832534a-7e4f-4058-9c41-7f4a5b855c95" providerId="ADAL" clId="{FDA6683D-9326-4144-AA21-22F03B2932EF}" dt="2021-05-10T22:50:49.857" v="1608" actId="20577"/>
      <pc:docMkLst>
        <pc:docMk/>
      </pc:docMkLst>
      <pc:sldChg chg="modSp mod addCm">
        <pc:chgData name="Tony Radkiewicz" userId="9832534a-7e4f-4058-9c41-7f4a5b855c95" providerId="ADAL" clId="{FDA6683D-9326-4144-AA21-22F03B2932EF}" dt="2021-05-10T21:44:25.492" v="1098"/>
        <pc:sldMkLst>
          <pc:docMk/>
          <pc:sldMk cId="2750683798" sldId="258"/>
        </pc:sldMkLst>
        <pc:spChg chg="mod">
          <ac:chgData name="Tony Radkiewicz" userId="9832534a-7e4f-4058-9c41-7f4a5b855c95" providerId="ADAL" clId="{FDA6683D-9326-4144-AA21-22F03B2932EF}" dt="2021-05-10T21:43:45.453" v="1097" actId="6549"/>
          <ac:spMkLst>
            <pc:docMk/>
            <pc:sldMk cId="2750683798" sldId="258"/>
            <ac:spMk id="5" creationId="{55182462-DFDF-4D48-A92C-42FD52821C4E}"/>
          </ac:spMkLst>
        </pc:spChg>
      </pc:sldChg>
      <pc:sldChg chg="mod modShow">
        <pc:chgData name="Tony Radkiewicz" userId="9832534a-7e4f-4058-9c41-7f4a5b855c95" providerId="ADAL" clId="{FDA6683D-9326-4144-AA21-22F03B2932EF}" dt="2021-05-10T21:48:14.508" v="1109" actId="729"/>
        <pc:sldMkLst>
          <pc:docMk/>
          <pc:sldMk cId="368875999" sldId="259"/>
        </pc:sldMkLst>
      </pc:sldChg>
      <pc:sldChg chg="mod modShow modCm">
        <pc:chgData name="Tony Radkiewicz" userId="9832534a-7e4f-4058-9c41-7f4a5b855c95" providerId="ADAL" clId="{FDA6683D-9326-4144-AA21-22F03B2932EF}" dt="2021-05-10T21:51:32.575" v="1137"/>
        <pc:sldMkLst>
          <pc:docMk/>
          <pc:sldMk cId="3569284726" sldId="260"/>
        </pc:sldMkLst>
      </pc:sldChg>
      <pc:sldChg chg="modSp mod modCm">
        <pc:chgData name="Tony Radkiewicz" userId="9832534a-7e4f-4058-9c41-7f4a5b855c95" providerId="ADAL" clId="{FDA6683D-9326-4144-AA21-22F03B2932EF}" dt="2021-04-26T21:40:14.599" v="1"/>
        <pc:sldMkLst>
          <pc:docMk/>
          <pc:sldMk cId="3919307734" sldId="262"/>
        </pc:sldMkLst>
        <pc:graphicFrameChg chg="modGraphic">
          <ac:chgData name="Tony Radkiewicz" userId="9832534a-7e4f-4058-9c41-7f4a5b855c95" providerId="ADAL" clId="{FDA6683D-9326-4144-AA21-22F03B2932EF}" dt="2021-04-26T21:39:45.012" v="0" actId="403"/>
          <ac:graphicFrameMkLst>
            <pc:docMk/>
            <pc:sldMk cId="3919307734" sldId="262"/>
            <ac:graphicFrameMk id="9" creationId="{484138B8-E1EA-4320-AFFC-374584BF065F}"/>
          </ac:graphicFrameMkLst>
        </pc:graphicFrameChg>
      </pc:sldChg>
      <pc:sldChg chg="modSp mod">
        <pc:chgData name="Tony Radkiewicz" userId="9832534a-7e4f-4058-9c41-7f4a5b855c95" providerId="ADAL" clId="{FDA6683D-9326-4144-AA21-22F03B2932EF}" dt="2021-05-10T21:12:56.514" v="961" actId="404"/>
        <pc:sldMkLst>
          <pc:docMk/>
          <pc:sldMk cId="3293857560" sldId="271"/>
        </pc:sldMkLst>
        <pc:graphicFrameChg chg="modGraphic">
          <ac:chgData name="Tony Radkiewicz" userId="9832534a-7e4f-4058-9c41-7f4a5b855c95" providerId="ADAL" clId="{FDA6683D-9326-4144-AA21-22F03B2932EF}" dt="2021-05-10T21:12:56.514" v="961" actId="404"/>
          <ac:graphicFrameMkLst>
            <pc:docMk/>
            <pc:sldMk cId="3293857560" sldId="271"/>
            <ac:graphicFrameMk id="32" creationId="{8C19BFBA-5CA7-48D2-87DA-8887B57D2B56}"/>
          </ac:graphicFrameMkLst>
        </pc:graphicFrameChg>
      </pc:sldChg>
      <pc:sldChg chg="modSp modNotesTx">
        <pc:chgData name="Tony Radkiewicz" userId="9832534a-7e4f-4058-9c41-7f4a5b855c95" providerId="ADAL" clId="{FDA6683D-9326-4144-AA21-22F03B2932EF}" dt="2021-05-10T22:28:47.601" v="1497" actId="20577"/>
        <pc:sldMkLst>
          <pc:docMk/>
          <pc:sldMk cId="1954619106" sldId="273"/>
        </pc:sldMkLst>
        <pc:graphicFrameChg chg="mod">
          <ac:chgData name="Tony Radkiewicz" userId="9832534a-7e4f-4058-9c41-7f4a5b855c95" providerId="ADAL" clId="{FDA6683D-9326-4144-AA21-22F03B2932EF}" dt="2021-05-10T21:25:33.830" v="977"/>
          <ac:graphicFrameMkLst>
            <pc:docMk/>
            <pc:sldMk cId="1954619106" sldId="273"/>
            <ac:graphicFrameMk id="32" creationId="{8C19BFBA-5CA7-48D2-87DA-8887B57D2B56}"/>
          </ac:graphicFrameMkLst>
        </pc:graphicFrameChg>
      </pc:sldChg>
      <pc:sldChg chg="del mod modShow modCm">
        <pc:chgData name="Tony Radkiewicz" userId="9832534a-7e4f-4058-9c41-7f4a5b855c95" providerId="ADAL" clId="{FDA6683D-9326-4144-AA21-22F03B2932EF}" dt="2021-05-10T22:30:44.073" v="1498" actId="47"/>
        <pc:sldMkLst>
          <pc:docMk/>
          <pc:sldMk cId="1614834569" sldId="277"/>
        </pc:sldMkLst>
      </pc:sldChg>
      <pc:sldChg chg="del mod modShow">
        <pc:chgData name="Tony Radkiewicz" userId="9832534a-7e4f-4058-9c41-7f4a5b855c95" providerId="ADAL" clId="{FDA6683D-9326-4144-AA21-22F03B2932EF}" dt="2021-05-10T22:30:44.073" v="1498" actId="47"/>
        <pc:sldMkLst>
          <pc:docMk/>
          <pc:sldMk cId="133185550" sldId="278"/>
        </pc:sldMkLst>
      </pc:sldChg>
      <pc:sldChg chg="del mod modShow">
        <pc:chgData name="Tony Radkiewicz" userId="9832534a-7e4f-4058-9c41-7f4a5b855c95" providerId="ADAL" clId="{FDA6683D-9326-4144-AA21-22F03B2932EF}" dt="2021-05-10T22:30:44.073" v="1498" actId="47"/>
        <pc:sldMkLst>
          <pc:docMk/>
          <pc:sldMk cId="3010976137" sldId="279"/>
        </pc:sldMkLst>
      </pc:sldChg>
      <pc:sldChg chg="del mod modShow">
        <pc:chgData name="Tony Radkiewicz" userId="9832534a-7e4f-4058-9c41-7f4a5b855c95" providerId="ADAL" clId="{FDA6683D-9326-4144-AA21-22F03B2932EF}" dt="2021-05-10T22:30:44.073" v="1498" actId="47"/>
        <pc:sldMkLst>
          <pc:docMk/>
          <pc:sldMk cId="527507535" sldId="280"/>
        </pc:sldMkLst>
      </pc:sldChg>
      <pc:sldChg chg="del mod modShow">
        <pc:chgData name="Tony Radkiewicz" userId="9832534a-7e4f-4058-9c41-7f4a5b855c95" providerId="ADAL" clId="{FDA6683D-9326-4144-AA21-22F03B2932EF}" dt="2021-05-10T22:30:44.073" v="1498" actId="47"/>
        <pc:sldMkLst>
          <pc:docMk/>
          <pc:sldMk cId="1677964883" sldId="281"/>
        </pc:sldMkLst>
      </pc:sldChg>
      <pc:sldChg chg="del mod modShow">
        <pc:chgData name="Tony Radkiewicz" userId="9832534a-7e4f-4058-9c41-7f4a5b855c95" providerId="ADAL" clId="{FDA6683D-9326-4144-AA21-22F03B2932EF}" dt="2021-05-10T22:30:44.073" v="1498" actId="47"/>
        <pc:sldMkLst>
          <pc:docMk/>
          <pc:sldMk cId="3296877181" sldId="282"/>
        </pc:sldMkLst>
      </pc:sldChg>
      <pc:sldChg chg="del mod modShow">
        <pc:chgData name="Tony Radkiewicz" userId="9832534a-7e4f-4058-9c41-7f4a5b855c95" providerId="ADAL" clId="{FDA6683D-9326-4144-AA21-22F03B2932EF}" dt="2021-05-10T22:30:44.073" v="1498" actId="47"/>
        <pc:sldMkLst>
          <pc:docMk/>
          <pc:sldMk cId="3455316660" sldId="283"/>
        </pc:sldMkLst>
      </pc:sldChg>
      <pc:sldChg chg="del">
        <pc:chgData name="Tony Radkiewicz" userId="9832534a-7e4f-4058-9c41-7f4a5b855c95" providerId="ADAL" clId="{FDA6683D-9326-4144-AA21-22F03B2932EF}" dt="2021-05-10T22:47:57.394" v="1500" actId="47"/>
        <pc:sldMkLst>
          <pc:docMk/>
          <pc:sldMk cId="717519573" sldId="284"/>
        </pc:sldMkLst>
      </pc:sldChg>
      <pc:sldChg chg="del mod modShow">
        <pc:chgData name="Tony Radkiewicz" userId="9832534a-7e4f-4058-9c41-7f4a5b855c95" providerId="ADAL" clId="{FDA6683D-9326-4144-AA21-22F03B2932EF}" dt="2021-05-10T22:47:57.394" v="1500" actId="47"/>
        <pc:sldMkLst>
          <pc:docMk/>
          <pc:sldMk cId="1313270211" sldId="285"/>
        </pc:sldMkLst>
      </pc:sldChg>
      <pc:sldChg chg="del">
        <pc:chgData name="Tony Radkiewicz" userId="9832534a-7e4f-4058-9c41-7f4a5b855c95" providerId="ADAL" clId="{FDA6683D-9326-4144-AA21-22F03B2932EF}" dt="2021-05-10T22:47:57.394" v="1500" actId="47"/>
        <pc:sldMkLst>
          <pc:docMk/>
          <pc:sldMk cId="2951143564" sldId="286"/>
        </pc:sldMkLst>
      </pc:sldChg>
      <pc:sldChg chg="addSp delSp modSp mod modCm">
        <pc:chgData name="Tony Radkiewicz" userId="9832534a-7e4f-4058-9c41-7f4a5b855c95" providerId="ADAL" clId="{FDA6683D-9326-4144-AA21-22F03B2932EF}" dt="2021-05-10T21:35:58.385" v="1028"/>
        <pc:sldMkLst>
          <pc:docMk/>
          <pc:sldMk cId="2150294391" sldId="287"/>
        </pc:sldMkLst>
        <pc:spChg chg="add del">
          <ac:chgData name="Tony Radkiewicz" userId="9832534a-7e4f-4058-9c41-7f4a5b855c95" providerId="ADAL" clId="{FDA6683D-9326-4144-AA21-22F03B2932EF}" dt="2021-05-10T21:35:08.064" v="1019" actId="12084"/>
          <ac:spMkLst>
            <pc:docMk/>
            <pc:sldMk cId="2150294391" sldId="287"/>
            <ac:spMk id="2" creationId="{A50D8ED9-7960-4006-AB0F-35B0832D63A1}"/>
          </ac:spMkLst>
        </pc:spChg>
        <pc:graphicFrameChg chg="add del mod">
          <ac:chgData name="Tony Radkiewicz" userId="9832534a-7e4f-4058-9c41-7f4a5b855c95" providerId="ADAL" clId="{FDA6683D-9326-4144-AA21-22F03B2932EF}" dt="2021-05-10T21:33:49.258" v="1005" actId="12084"/>
          <ac:graphicFrameMkLst>
            <pc:docMk/>
            <pc:sldMk cId="2150294391" sldId="287"/>
            <ac:graphicFrameMk id="3" creationId="{752E3DE3-D067-41CF-B243-241CE2527BD8}"/>
          </ac:graphicFrameMkLst>
        </pc:graphicFrameChg>
        <pc:graphicFrameChg chg="add del mod">
          <ac:chgData name="Tony Radkiewicz" userId="9832534a-7e4f-4058-9c41-7f4a5b855c95" providerId="ADAL" clId="{FDA6683D-9326-4144-AA21-22F03B2932EF}" dt="2021-05-10T21:35:08.064" v="1019" actId="12084"/>
          <ac:graphicFrameMkLst>
            <pc:docMk/>
            <pc:sldMk cId="2150294391" sldId="287"/>
            <ac:graphicFrameMk id="4" creationId="{7C1EB967-3718-42A0-A64B-8D40A714A2B1}"/>
          </ac:graphicFrameMkLst>
        </pc:graphicFrameChg>
        <pc:graphicFrameChg chg="mod modGraphic">
          <ac:chgData name="Tony Radkiewicz" userId="9832534a-7e4f-4058-9c41-7f4a5b855c95" providerId="ADAL" clId="{FDA6683D-9326-4144-AA21-22F03B2932EF}" dt="2021-05-10T21:35:45.527" v="1027" actId="207"/>
          <ac:graphicFrameMkLst>
            <pc:docMk/>
            <pc:sldMk cId="2150294391" sldId="287"/>
            <ac:graphicFrameMk id="9" creationId="{00000000-0000-0000-0000-000000000000}"/>
          </ac:graphicFrameMkLst>
        </pc:graphicFrameChg>
      </pc:sldChg>
      <pc:sldChg chg="modSp mod ord modShow modCm modNotesTx">
        <pc:chgData name="Tony Radkiewicz" userId="9832534a-7e4f-4058-9c41-7f4a5b855c95" providerId="ADAL" clId="{FDA6683D-9326-4144-AA21-22F03B2932EF}" dt="2021-05-10T22:17:11.692" v="1487" actId="403"/>
        <pc:sldMkLst>
          <pc:docMk/>
          <pc:sldMk cId="2339254216" sldId="292"/>
        </pc:sldMkLst>
        <pc:spChg chg="mod">
          <ac:chgData name="Tony Radkiewicz" userId="9832534a-7e4f-4058-9c41-7f4a5b855c95" providerId="ADAL" clId="{FDA6683D-9326-4144-AA21-22F03B2932EF}" dt="2021-05-10T21:49:01.585" v="1128" actId="1076"/>
          <ac:spMkLst>
            <pc:docMk/>
            <pc:sldMk cId="2339254216" sldId="292"/>
            <ac:spMk id="5" creationId="{7A2054FB-270A-47D3-A208-679F30861119}"/>
          </ac:spMkLst>
        </pc:spChg>
        <pc:graphicFrameChg chg="mod modGraphic">
          <ac:chgData name="Tony Radkiewicz" userId="9832534a-7e4f-4058-9c41-7f4a5b855c95" providerId="ADAL" clId="{FDA6683D-9326-4144-AA21-22F03B2932EF}" dt="2021-05-10T22:17:11.692" v="1487" actId="403"/>
          <ac:graphicFrameMkLst>
            <pc:docMk/>
            <pc:sldMk cId="2339254216" sldId="292"/>
            <ac:graphicFrameMk id="4" creationId="{5F369B96-6A26-460F-98E6-87511A648C95}"/>
          </ac:graphicFrameMkLst>
        </pc:graphicFrameChg>
      </pc:sldChg>
      <pc:sldChg chg="modSp mod modCm">
        <pc:chgData name="Tony Radkiewicz" userId="9832534a-7e4f-4058-9c41-7f4a5b855c95" providerId="ADAL" clId="{FDA6683D-9326-4144-AA21-22F03B2932EF}" dt="2021-04-26T21:56:46.221" v="258" actId="6549"/>
        <pc:sldMkLst>
          <pc:docMk/>
          <pc:sldMk cId="2254668817" sldId="298"/>
        </pc:sldMkLst>
        <pc:spChg chg="mod">
          <ac:chgData name="Tony Radkiewicz" userId="9832534a-7e4f-4058-9c41-7f4a5b855c95" providerId="ADAL" clId="{FDA6683D-9326-4144-AA21-22F03B2932EF}" dt="2021-04-26T21:56:46.221" v="258" actId="6549"/>
          <ac:spMkLst>
            <pc:docMk/>
            <pc:sldMk cId="2254668817" sldId="298"/>
            <ac:spMk id="3" creationId="{5D6B4B5F-C435-4048-9E96-629F8DF98E6D}"/>
          </ac:spMkLst>
        </pc:spChg>
        <pc:graphicFrameChg chg="modGraphic">
          <ac:chgData name="Tony Radkiewicz" userId="9832534a-7e4f-4058-9c41-7f4a5b855c95" providerId="ADAL" clId="{FDA6683D-9326-4144-AA21-22F03B2932EF}" dt="2021-04-26T21:42:48.759" v="11" actId="20577"/>
          <ac:graphicFrameMkLst>
            <pc:docMk/>
            <pc:sldMk cId="2254668817" sldId="298"/>
            <ac:graphicFrameMk id="10" creationId="{9454D9B4-176C-4576-B1F4-DCFC9E9920A3}"/>
          </ac:graphicFrameMkLst>
        </pc:graphicFrameChg>
      </pc:sldChg>
      <pc:sldChg chg="modSp mod modCm modNotesTx">
        <pc:chgData name="Tony Radkiewicz" userId="9832534a-7e4f-4058-9c41-7f4a5b855c95" providerId="ADAL" clId="{FDA6683D-9326-4144-AA21-22F03B2932EF}" dt="2021-04-26T21:57:57.759" v="262" actId="120"/>
        <pc:sldMkLst>
          <pc:docMk/>
          <pc:sldMk cId="3123952937" sldId="299"/>
        </pc:sldMkLst>
        <pc:spChg chg="mod">
          <ac:chgData name="Tony Radkiewicz" userId="9832534a-7e4f-4058-9c41-7f4a5b855c95" providerId="ADAL" clId="{FDA6683D-9326-4144-AA21-22F03B2932EF}" dt="2021-04-26T21:52:45.581" v="17" actId="20577"/>
          <ac:spMkLst>
            <pc:docMk/>
            <pc:sldMk cId="3123952937" sldId="299"/>
            <ac:spMk id="5" creationId="{CD7AC34A-2A1C-4695-B0AE-C30235314FC8}"/>
          </ac:spMkLst>
        </pc:spChg>
        <pc:graphicFrameChg chg="mod">
          <ac:chgData name="Tony Radkiewicz" userId="9832534a-7e4f-4058-9c41-7f4a5b855c95" providerId="ADAL" clId="{FDA6683D-9326-4144-AA21-22F03B2932EF}" dt="2021-04-26T21:57:57.759" v="262" actId="120"/>
          <ac:graphicFrameMkLst>
            <pc:docMk/>
            <pc:sldMk cId="3123952937" sldId="299"/>
            <ac:graphicFrameMk id="6" creationId="{A1E971C9-D45C-482C-ADBC-185B72081DAF}"/>
          </ac:graphicFrameMkLst>
        </pc:graphicFrameChg>
      </pc:sldChg>
      <pc:sldChg chg="modSp mod modCm">
        <pc:chgData name="Tony Radkiewicz" userId="9832534a-7e4f-4058-9c41-7f4a5b855c95" providerId="ADAL" clId="{FDA6683D-9326-4144-AA21-22F03B2932EF}" dt="2021-04-26T21:58:03.141" v="263" actId="120"/>
        <pc:sldMkLst>
          <pc:docMk/>
          <pc:sldMk cId="2901526890" sldId="300"/>
        </pc:sldMkLst>
        <pc:spChg chg="mod">
          <ac:chgData name="Tony Radkiewicz" userId="9832534a-7e4f-4058-9c41-7f4a5b855c95" providerId="ADAL" clId="{FDA6683D-9326-4144-AA21-22F03B2932EF}" dt="2021-04-26T21:52:48.117" v="19" actId="20577"/>
          <ac:spMkLst>
            <pc:docMk/>
            <pc:sldMk cId="2901526890" sldId="300"/>
            <ac:spMk id="5" creationId="{CD7AC34A-2A1C-4695-B0AE-C30235314FC8}"/>
          </ac:spMkLst>
        </pc:spChg>
        <pc:graphicFrameChg chg="mod">
          <ac:chgData name="Tony Radkiewicz" userId="9832534a-7e4f-4058-9c41-7f4a5b855c95" providerId="ADAL" clId="{FDA6683D-9326-4144-AA21-22F03B2932EF}" dt="2021-04-26T21:58:03.141" v="263" actId="120"/>
          <ac:graphicFrameMkLst>
            <pc:docMk/>
            <pc:sldMk cId="2901526890" sldId="300"/>
            <ac:graphicFrameMk id="4" creationId="{5AE922FA-E6BE-4330-9555-1F907846D795}"/>
          </ac:graphicFrameMkLst>
        </pc:graphicFrameChg>
      </pc:sldChg>
      <pc:sldChg chg="modSp mod modCm">
        <pc:chgData name="Tony Radkiewicz" userId="9832534a-7e4f-4058-9c41-7f4a5b855c95" providerId="ADAL" clId="{FDA6683D-9326-4144-AA21-22F03B2932EF}" dt="2021-04-26T22:11:28.906" v="566" actId="1076"/>
        <pc:sldMkLst>
          <pc:docMk/>
          <pc:sldMk cId="1289176943" sldId="301"/>
        </pc:sldMkLst>
        <pc:graphicFrameChg chg="mod">
          <ac:chgData name="Tony Radkiewicz" userId="9832534a-7e4f-4058-9c41-7f4a5b855c95" providerId="ADAL" clId="{FDA6683D-9326-4144-AA21-22F03B2932EF}" dt="2021-04-26T22:10:25.268" v="557"/>
          <ac:graphicFrameMkLst>
            <pc:docMk/>
            <pc:sldMk cId="1289176943" sldId="301"/>
            <ac:graphicFrameMk id="4" creationId="{B21FDB19-1260-4031-B557-015C70741C78}"/>
          </ac:graphicFrameMkLst>
        </pc:graphicFrameChg>
        <pc:graphicFrameChg chg="mod">
          <ac:chgData name="Tony Radkiewicz" userId="9832534a-7e4f-4058-9c41-7f4a5b855c95" providerId="ADAL" clId="{FDA6683D-9326-4144-AA21-22F03B2932EF}" dt="2021-04-26T22:11:28.906" v="566" actId="1076"/>
          <ac:graphicFrameMkLst>
            <pc:docMk/>
            <pc:sldMk cId="1289176943" sldId="301"/>
            <ac:graphicFrameMk id="27" creationId="{4D5E4497-53E5-400A-9D59-B2E7A72A6E93}"/>
          </ac:graphicFrameMkLst>
        </pc:graphicFrameChg>
      </pc:sldChg>
      <pc:sldChg chg="modSp mod modCm">
        <pc:chgData name="Tony Radkiewicz" userId="9832534a-7e4f-4058-9c41-7f4a5b855c95" providerId="ADAL" clId="{FDA6683D-9326-4144-AA21-22F03B2932EF}" dt="2021-04-26T22:15:48.551" v="594"/>
        <pc:sldMkLst>
          <pc:docMk/>
          <pc:sldMk cId="2637085186" sldId="302"/>
        </pc:sldMkLst>
        <pc:spChg chg="mod">
          <ac:chgData name="Tony Radkiewicz" userId="9832534a-7e4f-4058-9c41-7f4a5b855c95" providerId="ADAL" clId="{FDA6683D-9326-4144-AA21-22F03B2932EF}" dt="2021-04-26T22:15:09.934" v="584" actId="20577"/>
          <ac:spMkLst>
            <pc:docMk/>
            <pc:sldMk cId="2637085186" sldId="302"/>
            <ac:spMk id="5" creationId="{A000310B-4532-4F07-8810-5095C1D640F1}"/>
          </ac:spMkLst>
        </pc:spChg>
        <pc:graphicFrameChg chg="mod modGraphic">
          <ac:chgData name="Tony Radkiewicz" userId="9832534a-7e4f-4058-9c41-7f4a5b855c95" providerId="ADAL" clId="{FDA6683D-9326-4144-AA21-22F03B2932EF}" dt="2021-04-26T22:11:41.877" v="569" actId="403"/>
          <ac:graphicFrameMkLst>
            <pc:docMk/>
            <pc:sldMk cId="2637085186" sldId="302"/>
            <ac:graphicFrameMk id="6" creationId="{F25488A8-49AC-4416-AB84-CA82031319EA}"/>
          </ac:graphicFrameMkLst>
        </pc:graphicFrameChg>
      </pc:sldChg>
      <pc:sldChg chg="modCm">
        <pc:chgData name="Tony Radkiewicz" userId="9832534a-7e4f-4058-9c41-7f4a5b855c95" providerId="ADAL" clId="{FDA6683D-9326-4144-AA21-22F03B2932EF}" dt="2021-04-26T22:20:52.210" v="628"/>
        <pc:sldMkLst>
          <pc:docMk/>
          <pc:sldMk cId="1818785807" sldId="303"/>
        </pc:sldMkLst>
      </pc:sldChg>
      <pc:sldChg chg="del">
        <pc:chgData name="Tony Radkiewicz" userId="9832534a-7e4f-4058-9c41-7f4a5b855c95" providerId="ADAL" clId="{FDA6683D-9326-4144-AA21-22F03B2932EF}" dt="2021-05-10T22:30:44.073" v="1498" actId="47"/>
        <pc:sldMkLst>
          <pc:docMk/>
          <pc:sldMk cId="2907988244" sldId="304"/>
        </pc:sldMkLst>
      </pc:sldChg>
      <pc:sldChg chg="del">
        <pc:chgData name="Tony Radkiewicz" userId="9832534a-7e4f-4058-9c41-7f4a5b855c95" providerId="ADAL" clId="{FDA6683D-9326-4144-AA21-22F03B2932EF}" dt="2021-05-10T22:30:44.073" v="1498" actId="47"/>
        <pc:sldMkLst>
          <pc:docMk/>
          <pc:sldMk cId="581313808" sldId="305"/>
        </pc:sldMkLst>
      </pc:sldChg>
      <pc:sldChg chg="del">
        <pc:chgData name="Tony Radkiewicz" userId="9832534a-7e4f-4058-9c41-7f4a5b855c95" providerId="ADAL" clId="{FDA6683D-9326-4144-AA21-22F03B2932EF}" dt="2021-05-10T22:30:44.073" v="1498" actId="47"/>
        <pc:sldMkLst>
          <pc:docMk/>
          <pc:sldMk cId="1915883643" sldId="306"/>
        </pc:sldMkLst>
      </pc:sldChg>
      <pc:sldChg chg="modSp del mod modShow">
        <pc:chgData name="Tony Radkiewicz" userId="9832534a-7e4f-4058-9c41-7f4a5b855c95" providerId="ADAL" clId="{FDA6683D-9326-4144-AA21-22F03B2932EF}" dt="2021-05-10T22:47:57.394" v="1500" actId="47"/>
        <pc:sldMkLst>
          <pc:docMk/>
          <pc:sldMk cId="334440044" sldId="307"/>
        </pc:sldMkLst>
        <pc:graphicFrameChg chg="mod">
          <ac:chgData name="Tony Radkiewicz" userId="9832534a-7e4f-4058-9c41-7f4a5b855c95" providerId="ADAL" clId="{FDA6683D-9326-4144-AA21-22F03B2932EF}" dt="2021-05-10T21:30:12.019" v="987" actId="14100"/>
          <ac:graphicFrameMkLst>
            <pc:docMk/>
            <pc:sldMk cId="334440044" sldId="307"/>
            <ac:graphicFrameMk id="6" creationId="{1836D8FD-3455-416A-851A-F86041E2A1B2}"/>
          </ac:graphicFrameMkLst>
        </pc:graphicFrameChg>
      </pc:sldChg>
      <pc:sldChg chg="del">
        <pc:chgData name="Tony Radkiewicz" userId="9832534a-7e4f-4058-9c41-7f4a5b855c95" providerId="ADAL" clId="{FDA6683D-9326-4144-AA21-22F03B2932EF}" dt="2021-05-10T22:47:57.394" v="1500" actId="47"/>
        <pc:sldMkLst>
          <pc:docMk/>
          <pc:sldMk cId="3930220576" sldId="308"/>
        </pc:sldMkLst>
      </pc:sldChg>
      <pc:sldChg chg="modSp mod">
        <pc:chgData name="Tony Radkiewicz" userId="9832534a-7e4f-4058-9c41-7f4a5b855c95" providerId="ADAL" clId="{FDA6683D-9326-4144-AA21-22F03B2932EF}" dt="2021-05-10T21:42:20.639" v="1089" actId="403"/>
        <pc:sldMkLst>
          <pc:docMk/>
          <pc:sldMk cId="3240642647" sldId="309"/>
        </pc:sldMkLst>
        <pc:spChg chg="mod">
          <ac:chgData name="Tony Radkiewicz" userId="9832534a-7e4f-4058-9c41-7f4a5b855c95" providerId="ADAL" clId="{FDA6683D-9326-4144-AA21-22F03B2932EF}" dt="2021-05-10T21:42:20.639" v="1089" actId="403"/>
          <ac:spMkLst>
            <pc:docMk/>
            <pc:sldMk cId="3240642647" sldId="309"/>
            <ac:spMk id="6" creationId="{C34D83F1-668F-415F-A6CB-BAE9B7619C91}"/>
          </ac:spMkLst>
        </pc:spChg>
      </pc:sldChg>
      <pc:sldChg chg="modSp add mod">
        <pc:chgData name="Tony Radkiewicz" userId="9832534a-7e4f-4058-9c41-7f4a5b855c95" providerId="ADAL" clId="{FDA6683D-9326-4144-AA21-22F03B2932EF}" dt="2021-04-26T22:06:35.595" v="529" actId="1076"/>
        <pc:sldMkLst>
          <pc:docMk/>
          <pc:sldMk cId="2922585470" sldId="310"/>
        </pc:sldMkLst>
        <pc:graphicFrameChg chg="mod modGraphic">
          <ac:chgData name="Tony Radkiewicz" userId="9832534a-7e4f-4058-9c41-7f4a5b855c95" providerId="ADAL" clId="{FDA6683D-9326-4144-AA21-22F03B2932EF}" dt="2021-04-26T22:06:00.154" v="528" actId="403"/>
          <ac:graphicFrameMkLst>
            <pc:docMk/>
            <pc:sldMk cId="2922585470" sldId="310"/>
            <ac:graphicFrameMk id="4" creationId="{B21FDB19-1260-4031-B557-015C70741C78}"/>
          </ac:graphicFrameMkLst>
        </pc:graphicFrameChg>
        <pc:graphicFrameChg chg="mod">
          <ac:chgData name="Tony Radkiewicz" userId="9832534a-7e4f-4058-9c41-7f4a5b855c95" providerId="ADAL" clId="{FDA6683D-9326-4144-AA21-22F03B2932EF}" dt="2021-04-26T22:06:35.595" v="529" actId="1076"/>
          <ac:graphicFrameMkLst>
            <pc:docMk/>
            <pc:sldMk cId="2922585470" sldId="310"/>
            <ac:graphicFrameMk id="27" creationId="{4D5E4497-53E5-400A-9D59-B2E7A72A6E93}"/>
          </ac:graphicFrameMkLst>
        </pc:graphicFrameChg>
      </pc:sldChg>
      <pc:sldChg chg="modSp add mod">
        <pc:chgData name="Tony Radkiewicz" userId="9832534a-7e4f-4058-9c41-7f4a5b855c95" providerId="ADAL" clId="{FDA6683D-9326-4144-AA21-22F03B2932EF}" dt="2021-04-26T22:08:33.643" v="552" actId="13782"/>
        <pc:sldMkLst>
          <pc:docMk/>
          <pc:sldMk cId="1028743727" sldId="311"/>
        </pc:sldMkLst>
        <pc:graphicFrameChg chg="mod modGraphic">
          <ac:chgData name="Tony Radkiewicz" userId="9832534a-7e4f-4058-9c41-7f4a5b855c95" providerId="ADAL" clId="{FDA6683D-9326-4144-AA21-22F03B2932EF}" dt="2021-04-26T22:08:33.643" v="552" actId="13782"/>
          <ac:graphicFrameMkLst>
            <pc:docMk/>
            <pc:sldMk cId="1028743727" sldId="311"/>
            <ac:graphicFrameMk id="4" creationId="{B21FDB19-1260-4031-B557-015C70741C78}"/>
          </ac:graphicFrameMkLst>
        </pc:graphicFrameChg>
      </pc:sldChg>
      <pc:sldChg chg="add del">
        <pc:chgData name="Tony Radkiewicz" userId="9832534a-7e4f-4058-9c41-7f4a5b855c95" providerId="ADAL" clId="{FDA6683D-9326-4144-AA21-22F03B2932EF}" dt="2021-04-26T22:11:26.894" v="564" actId="2890"/>
        <pc:sldMkLst>
          <pc:docMk/>
          <pc:sldMk cId="362015389" sldId="312"/>
        </pc:sldMkLst>
      </pc:sldChg>
      <pc:sldChg chg="modSp add mod">
        <pc:chgData name="Tony Radkiewicz" userId="9832534a-7e4f-4058-9c41-7f4a5b855c95" providerId="ADAL" clId="{FDA6683D-9326-4144-AA21-22F03B2932EF}" dt="2021-04-26T22:15:14.943" v="587" actId="20577"/>
        <pc:sldMkLst>
          <pc:docMk/>
          <pc:sldMk cId="2324468770" sldId="312"/>
        </pc:sldMkLst>
        <pc:spChg chg="mod">
          <ac:chgData name="Tony Radkiewicz" userId="9832534a-7e4f-4058-9c41-7f4a5b855c95" providerId="ADAL" clId="{FDA6683D-9326-4144-AA21-22F03B2932EF}" dt="2021-04-26T22:15:14.943" v="587" actId="20577"/>
          <ac:spMkLst>
            <pc:docMk/>
            <pc:sldMk cId="2324468770" sldId="312"/>
            <ac:spMk id="5" creationId="{A000310B-4532-4F07-8810-5095C1D640F1}"/>
          </ac:spMkLst>
        </pc:spChg>
        <pc:graphicFrameChg chg="mod">
          <ac:chgData name="Tony Radkiewicz" userId="9832534a-7e4f-4058-9c41-7f4a5b855c95" providerId="ADAL" clId="{FDA6683D-9326-4144-AA21-22F03B2932EF}" dt="2021-04-26T22:13:40.840" v="576" actId="13782"/>
          <ac:graphicFrameMkLst>
            <pc:docMk/>
            <pc:sldMk cId="2324468770" sldId="312"/>
            <ac:graphicFrameMk id="6" creationId="{F25488A8-49AC-4416-AB84-CA82031319EA}"/>
          </ac:graphicFrameMkLst>
        </pc:graphicFrameChg>
      </pc:sldChg>
      <pc:sldChg chg="modSp add mod">
        <pc:chgData name="Tony Radkiewicz" userId="9832534a-7e4f-4058-9c41-7f4a5b855c95" providerId="ADAL" clId="{FDA6683D-9326-4144-AA21-22F03B2932EF}" dt="2021-04-26T22:15:20.155" v="590" actId="20577"/>
        <pc:sldMkLst>
          <pc:docMk/>
          <pc:sldMk cId="2645410879" sldId="313"/>
        </pc:sldMkLst>
        <pc:spChg chg="mod">
          <ac:chgData name="Tony Radkiewicz" userId="9832534a-7e4f-4058-9c41-7f4a5b855c95" providerId="ADAL" clId="{FDA6683D-9326-4144-AA21-22F03B2932EF}" dt="2021-04-26T22:15:20.155" v="590" actId="20577"/>
          <ac:spMkLst>
            <pc:docMk/>
            <pc:sldMk cId="2645410879" sldId="313"/>
            <ac:spMk id="5" creationId="{A000310B-4532-4F07-8810-5095C1D640F1}"/>
          </ac:spMkLst>
        </pc:spChg>
        <pc:graphicFrameChg chg="mod">
          <ac:chgData name="Tony Radkiewicz" userId="9832534a-7e4f-4058-9c41-7f4a5b855c95" providerId="ADAL" clId="{FDA6683D-9326-4144-AA21-22F03B2932EF}" dt="2021-04-26T22:12:55.833" v="573" actId="13782"/>
          <ac:graphicFrameMkLst>
            <pc:docMk/>
            <pc:sldMk cId="2645410879" sldId="313"/>
            <ac:graphicFrameMk id="6" creationId="{F25488A8-49AC-4416-AB84-CA82031319EA}"/>
          </ac:graphicFrameMkLst>
        </pc:graphicFrameChg>
      </pc:sldChg>
      <pc:sldChg chg="modSp add mod">
        <pc:chgData name="Tony Radkiewicz" userId="9832534a-7e4f-4058-9c41-7f4a5b855c95" providerId="ADAL" clId="{FDA6683D-9326-4144-AA21-22F03B2932EF}" dt="2021-04-26T22:15:25.908" v="593" actId="20577"/>
        <pc:sldMkLst>
          <pc:docMk/>
          <pc:sldMk cId="3581202429" sldId="314"/>
        </pc:sldMkLst>
        <pc:spChg chg="mod">
          <ac:chgData name="Tony Radkiewicz" userId="9832534a-7e4f-4058-9c41-7f4a5b855c95" providerId="ADAL" clId="{FDA6683D-9326-4144-AA21-22F03B2932EF}" dt="2021-04-26T22:15:25.908" v="593" actId="20577"/>
          <ac:spMkLst>
            <pc:docMk/>
            <pc:sldMk cId="3581202429" sldId="314"/>
            <ac:spMk id="5" creationId="{A000310B-4532-4F07-8810-5095C1D640F1}"/>
          </ac:spMkLst>
        </pc:spChg>
        <pc:graphicFrameChg chg="mod">
          <ac:chgData name="Tony Radkiewicz" userId="9832534a-7e4f-4058-9c41-7f4a5b855c95" providerId="ADAL" clId="{FDA6683D-9326-4144-AA21-22F03B2932EF}" dt="2021-04-26T22:13:16.385" v="575" actId="13782"/>
          <ac:graphicFrameMkLst>
            <pc:docMk/>
            <pc:sldMk cId="3581202429" sldId="314"/>
            <ac:graphicFrameMk id="6" creationId="{F25488A8-49AC-4416-AB84-CA82031319EA}"/>
          </ac:graphicFrameMkLst>
        </pc:graphicFrameChg>
      </pc:sldChg>
      <pc:sldChg chg="modSp add">
        <pc:chgData name="Tony Radkiewicz" userId="9832534a-7e4f-4058-9c41-7f4a5b855c95" providerId="ADAL" clId="{FDA6683D-9326-4144-AA21-22F03B2932EF}" dt="2021-04-26T22:14:23.151" v="580" actId="13782"/>
        <pc:sldMkLst>
          <pc:docMk/>
          <pc:sldMk cId="3597134556" sldId="315"/>
        </pc:sldMkLst>
        <pc:graphicFrameChg chg="mod">
          <ac:chgData name="Tony Radkiewicz" userId="9832534a-7e4f-4058-9c41-7f4a5b855c95" providerId="ADAL" clId="{FDA6683D-9326-4144-AA21-22F03B2932EF}" dt="2021-04-26T22:14:23.151" v="580" actId="13782"/>
          <ac:graphicFrameMkLst>
            <pc:docMk/>
            <pc:sldMk cId="3597134556" sldId="315"/>
            <ac:graphicFrameMk id="4" creationId="{B21FDB19-1260-4031-B557-015C70741C78}"/>
          </ac:graphicFrameMkLst>
        </pc:graphicFrameChg>
      </pc:sldChg>
      <pc:sldChg chg="modSp add">
        <pc:chgData name="Tony Radkiewicz" userId="9832534a-7e4f-4058-9c41-7f4a5b855c95" providerId="ADAL" clId="{FDA6683D-9326-4144-AA21-22F03B2932EF}" dt="2021-04-26T22:17:53.546" v="598" actId="13782"/>
        <pc:sldMkLst>
          <pc:docMk/>
          <pc:sldMk cId="836303966" sldId="316"/>
        </pc:sldMkLst>
        <pc:graphicFrameChg chg="mod">
          <ac:chgData name="Tony Radkiewicz" userId="9832534a-7e4f-4058-9c41-7f4a5b855c95" providerId="ADAL" clId="{FDA6683D-9326-4144-AA21-22F03B2932EF}" dt="2021-04-26T22:17:53.546" v="598" actId="13782"/>
          <ac:graphicFrameMkLst>
            <pc:docMk/>
            <pc:sldMk cId="836303966" sldId="316"/>
            <ac:graphicFrameMk id="4" creationId="{847EE73C-A57A-4EC3-A954-F1236BB9CB74}"/>
          </ac:graphicFrameMkLst>
        </pc:graphicFrameChg>
      </pc:sldChg>
      <pc:sldChg chg="addSp delSp modSp add mod">
        <pc:chgData name="Tony Radkiewicz" userId="9832534a-7e4f-4058-9c41-7f4a5b855c95" providerId="ADAL" clId="{FDA6683D-9326-4144-AA21-22F03B2932EF}" dt="2021-04-26T22:20:16.649" v="625" actId="13782"/>
        <pc:sldMkLst>
          <pc:docMk/>
          <pc:sldMk cId="1975876301" sldId="317"/>
        </pc:sldMkLst>
        <pc:spChg chg="add del mod">
          <ac:chgData name="Tony Radkiewicz" userId="9832534a-7e4f-4058-9c41-7f4a5b855c95" providerId="ADAL" clId="{FDA6683D-9326-4144-AA21-22F03B2932EF}" dt="2021-04-26T22:19:27.516" v="606" actId="12084"/>
          <ac:spMkLst>
            <pc:docMk/>
            <pc:sldMk cId="1975876301" sldId="317"/>
            <ac:spMk id="3" creationId="{661CFC53-09D4-43B3-A911-5B870C11103D}"/>
          </ac:spMkLst>
        </pc:spChg>
        <pc:graphicFrameChg chg="del mod">
          <ac:chgData name="Tony Radkiewicz" userId="9832534a-7e4f-4058-9c41-7f4a5b855c95" providerId="ADAL" clId="{FDA6683D-9326-4144-AA21-22F03B2932EF}" dt="2021-04-26T22:18:48.825" v="603" actId="11529"/>
          <ac:graphicFrameMkLst>
            <pc:docMk/>
            <pc:sldMk cId="1975876301" sldId="317"/>
            <ac:graphicFrameMk id="4" creationId="{847EE73C-A57A-4EC3-A954-F1236BB9CB74}"/>
          </ac:graphicFrameMkLst>
        </pc:graphicFrameChg>
        <pc:graphicFrameChg chg="add mod modGraphic">
          <ac:chgData name="Tony Radkiewicz" userId="9832534a-7e4f-4058-9c41-7f4a5b855c95" providerId="ADAL" clId="{FDA6683D-9326-4144-AA21-22F03B2932EF}" dt="2021-04-26T22:20:16.649" v="625" actId="13782"/>
          <ac:graphicFrameMkLst>
            <pc:docMk/>
            <pc:sldMk cId="1975876301" sldId="317"/>
            <ac:graphicFrameMk id="5" creationId="{7A3CC09F-BFC9-4F49-9A44-7F9E7DBC050E}"/>
          </ac:graphicFrameMkLst>
        </pc:graphicFrameChg>
      </pc:sldChg>
      <pc:sldChg chg="modSp add">
        <pc:chgData name="Tony Radkiewicz" userId="9832534a-7e4f-4058-9c41-7f4a5b855c95" providerId="ADAL" clId="{FDA6683D-9326-4144-AA21-22F03B2932EF}" dt="2021-04-26T22:20:32.620" v="627" actId="13782"/>
        <pc:sldMkLst>
          <pc:docMk/>
          <pc:sldMk cId="3560050542" sldId="318"/>
        </pc:sldMkLst>
        <pc:graphicFrameChg chg="mod">
          <ac:chgData name="Tony Radkiewicz" userId="9832534a-7e4f-4058-9c41-7f4a5b855c95" providerId="ADAL" clId="{FDA6683D-9326-4144-AA21-22F03B2932EF}" dt="2021-04-26T22:20:32.620" v="627" actId="13782"/>
          <ac:graphicFrameMkLst>
            <pc:docMk/>
            <pc:sldMk cId="3560050542" sldId="318"/>
            <ac:graphicFrameMk id="5" creationId="{7A3CC09F-BFC9-4F49-9A44-7F9E7DBC050E}"/>
          </ac:graphicFrameMkLst>
        </pc:graphicFrameChg>
      </pc:sldChg>
      <pc:sldChg chg="addSp delSp modSp add mod modShow addCm">
        <pc:chgData name="Tony Radkiewicz" userId="9832534a-7e4f-4058-9c41-7f4a5b855c95" providerId="ADAL" clId="{FDA6683D-9326-4144-AA21-22F03B2932EF}" dt="2021-05-10T21:08:38.161" v="957" actId="20577"/>
        <pc:sldMkLst>
          <pc:docMk/>
          <pc:sldMk cId="1696814778" sldId="319"/>
        </pc:sldMkLst>
        <pc:spChg chg="add del mod">
          <ac:chgData name="Tony Radkiewicz" userId="9832534a-7e4f-4058-9c41-7f4a5b855c95" providerId="ADAL" clId="{FDA6683D-9326-4144-AA21-22F03B2932EF}" dt="2021-04-26T22:24:56.964" v="798" actId="12084"/>
          <ac:spMkLst>
            <pc:docMk/>
            <pc:sldMk cId="1696814778" sldId="319"/>
            <ac:spMk id="2" creationId="{4EFBE05F-CFF3-4904-BAA8-F9C81B991AC7}"/>
          </ac:spMkLst>
        </pc:spChg>
        <pc:graphicFrameChg chg="add mod modGraphic">
          <ac:chgData name="Tony Radkiewicz" userId="9832534a-7e4f-4058-9c41-7f4a5b855c95" providerId="ADAL" clId="{FDA6683D-9326-4144-AA21-22F03B2932EF}" dt="2021-05-10T21:08:38.161" v="957" actId="20577"/>
          <ac:graphicFrameMkLst>
            <pc:docMk/>
            <pc:sldMk cId="1696814778" sldId="319"/>
            <ac:graphicFrameMk id="4" creationId="{BBE0AC0A-A34C-4558-9DA5-EF4FBB610548}"/>
          </ac:graphicFrameMkLst>
        </pc:graphicFrameChg>
        <pc:graphicFrameChg chg="del">
          <ac:chgData name="Tony Radkiewicz" userId="9832534a-7e4f-4058-9c41-7f4a5b855c95" providerId="ADAL" clId="{FDA6683D-9326-4144-AA21-22F03B2932EF}" dt="2021-04-26T22:21:46.388" v="630" actId="478"/>
          <ac:graphicFrameMkLst>
            <pc:docMk/>
            <pc:sldMk cId="1696814778" sldId="319"/>
            <ac:graphicFrameMk id="32" creationId="{8C19BFBA-5CA7-48D2-87DA-8887B57D2B56}"/>
          </ac:graphicFrameMkLst>
        </pc:graphicFrameChg>
      </pc:sldChg>
      <pc:sldChg chg="modSp add del mod">
        <pc:chgData name="Tony Radkiewicz" userId="9832534a-7e4f-4058-9c41-7f4a5b855c95" providerId="ADAL" clId="{FDA6683D-9326-4144-AA21-22F03B2932EF}" dt="2021-05-10T22:23:02.241" v="1488" actId="2696"/>
        <pc:sldMkLst>
          <pc:docMk/>
          <pc:sldMk cId="1917154401" sldId="320"/>
        </pc:sldMkLst>
        <pc:graphicFrameChg chg="mod modGraphic">
          <ac:chgData name="Tony Radkiewicz" userId="9832534a-7e4f-4058-9c41-7f4a5b855c95" providerId="ADAL" clId="{FDA6683D-9326-4144-AA21-22F03B2932EF}" dt="2021-05-10T21:13:58.936" v="968" actId="14100"/>
          <ac:graphicFrameMkLst>
            <pc:docMk/>
            <pc:sldMk cId="1917154401" sldId="320"/>
            <ac:graphicFrameMk id="4" creationId="{BBE0AC0A-A34C-4558-9DA5-EF4FBB610548}"/>
          </ac:graphicFrameMkLst>
        </pc:graphicFrameChg>
      </pc:sldChg>
      <pc:sldChg chg="addSp delSp modSp add mod modShow addCm modCm">
        <pc:chgData name="Tony Radkiewicz" userId="9832534a-7e4f-4058-9c41-7f4a5b855c95" providerId="ADAL" clId="{FDA6683D-9326-4144-AA21-22F03B2932EF}" dt="2021-05-10T22:50:49.857" v="1608" actId="20577"/>
        <pc:sldMkLst>
          <pc:docMk/>
          <pc:sldMk cId="1079707778" sldId="321"/>
        </pc:sldMkLst>
        <pc:spChg chg="del">
          <ac:chgData name="Tony Radkiewicz" userId="9832534a-7e4f-4058-9c41-7f4a5b855c95" providerId="ADAL" clId="{FDA6683D-9326-4144-AA21-22F03B2932EF}" dt="2021-05-10T21:36:25.851" v="1031" actId="12084"/>
          <ac:spMkLst>
            <pc:docMk/>
            <pc:sldMk cId="1079707778" sldId="321"/>
            <ac:spMk id="2" creationId="{A50D8ED9-7960-4006-AB0F-35B0832D63A1}"/>
          </ac:spMkLst>
        </pc:spChg>
        <pc:spChg chg="add mod">
          <ac:chgData name="Tony Radkiewicz" userId="9832534a-7e4f-4058-9c41-7f4a5b855c95" providerId="ADAL" clId="{FDA6683D-9326-4144-AA21-22F03B2932EF}" dt="2021-05-10T21:47:45.868" v="1107" actId="255"/>
          <ac:spMkLst>
            <pc:docMk/>
            <pc:sldMk cId="1079707778" sldId="321"/>
            <ac:spMk id="4" creationId="{9E147247-DD26-4AFB-BEAF-43AF2566FDFC}"/>
          </ac:spMkLst>
        </pc:spChg>
        <pc:graphicFrameChg chg="add mod modGraphic">
          <ac:chgData name="Tony Radkiewicz" userId="9832534a-7e4f-4058-9c41-7f4a5b855c95" providerId="ADAL" clId="{FDA6683D-9326-4144-AA21-22F03B2932EF}" dt="2021-05-10T22:50:49.857" v="1608" actId="20577"/>
          <ac:graphicFrameMkLst>
            <pc:docMk/>
            <pc:sldMk cId="1079707778" sldId="321"/>
            <ac:graphicFrameMk id="3" creationId="{5A5A0858-B41D-47A5-93E1-29C3816264F0}"/>
          </ac:graphicFrameMkLst>
        </pc:graphicFrameChg>
        <pc:graphicFrameChg chg="add del mod modGraphic">
          <ac:chgData name="Tony Radkiewicz" userId="9832534a-7e4f-4058-9c41-7f4a5b855c95" providerId="ADAL" clId="{FDA6683D-9326-4144-AA21-22F03B2932EF}" dt="2021-05-10T21:38:16.984" v="1038" actId="478"/>
          <ac:graphicFrameMkLst>
            <pc:docMk/>
            <pc:sldMk cId="1079707778" sldId="321"/>
            <ac:graphicFrameMk id="9" creationId="{00000000-0000-0000-0000-000000000000}"/>
          </ac:graphicFrameMkLst>
        </pc:graphicFrameChg>
      </pc:sldChg>
      <pc:sldChg chg="modSp add mod">
        <pc:chgData name="Tony Radkiewicz" userId="9832534a-7e4f-4058-9c41-7f4a5b855c95" providerId="ADAL" clId="{FDA6683D-9326-4144-AA21-22F03B2932EF}" dt="2021-05-10T22:00:22.755" v="1220" actId="1076"/>
        <pc:sldMkLst>
          <pc:docMk/>
          <pc:sldMk cId="2992050437" sldId="322"/>
        </pc:sldMkLst>
        <pc:spChg chg="mod">
          <ac:chgData name="Tony Radkiewicz" userId="9832534a-7e4f-4058-9c41-7f4a5b855c95" providerId="ADAL" clId="{FDA6683D-9326-4144-AA21-22F03B2932EF}" dt="2021-05-10T22:00:22.755" v="1220" actId="1076"/>
          <ac:spMkLst>
            <pc:docMk/>
            <pc:sldMk cId="2992050437" sldId="322"/>
            <ac:spMk id="3" creationId="{9E2AFA09-5E05-47FA-A3E9-BE4CDD21A6A9}"/>
          </ac:spMkLst>
        </pc:spChg>
        <pc:graphicFrameChg chg="mod modGraphic">
          <ac:chgData name="Tony Radkiewicz" userId="9832534a-7e4f-4058-9c41-7f4a5b855c95" providerId="ADAL" clId="{FDA6683D-9326-4144-AA21-22F03B2932EF}" dt="2021-05-10T21:59:43.107" v="1212" actId="13782"/>
          <ac:graphicFrameMkLst>
            <pc:docMk/>
            <pc:sldMk cId="2992050437" sldId="322"/>
            <ac:graphicFrameMk id="10" creationId="{9D86BC91-38BB-4CC5-AE9B-7878AD82DFAE}"/>
          </ac:graphicFrameMkLst>
        </pc:graphicFrameChg>
      </pc:sldChg>
      <pc:sldChg chg="modSp add del mod modShow">
        <pc:chgData name="Tony Radkiewicz" userId="9832534a-7e4f-4058-9c41-7f4a5b855c95" providerId="ADAL" clId="{FDA6683D-9326-4144-AA21-22F03B2932EF}" dt="2021-05-10T21:43:39.708" v="1095" actId="2890"/>
        <pc:sldMkLst>
          <pc:docMk/>
          <pc:sldMk cId="3291179691" sldId="322"/>
        </pc:sldMkLst>
        <pc:spChg chg="mod">
          <ac:chgData name="Tony Radkiewicz" userId="9832534a-7e4f-4058-9c41-7f4a5b855c95" providerId="ADAL" clId="{FDA6683D-9326-4144-AA21-22F03B2932EF}" dt="2021-05-10T21:43:37.983" v="1093" actId="6549"/>
          <ac:spMkLst>
            <pc:docMk/>
            <pc:sldMk cId="3291179691" sldId="322"/>
            <ac:spMk id="5" creationId="{55182462-DFDF-4D48-A92C-42FD52821C4E}"/>
          </ac:spMkLst>
        </pc:spChg>
      </pc:sldChg>
      <pc:sldChg chg="modSp add mod">
        <pc:chgData name="Tony Radkiewicz" userId="9832534a-7e4f-4058-9c41-7f4a5b855c95" providerId="ADAL" clId="{FDA6683D-9326-4144-AA21-22F03B2932EF}" dt="2021-05-10T22:07:56.090" v="1422" actId="403"/>
        <pc:sldMkLst>
          <pc:docMk/>
          <pc:sldMk cId="2916827937" sldId="323"/>
        </pc:sldMkLst>
        <pc:spChg chg="mod">
          <ac:chgData name="Tony Radkiewicz" userId="9832534a-7e4f-4058-9c41-7f4a5b855c95" providerId="ADAL" clId="{FDA6683D-9326-4144-AA21-22F03B2932EF}" dt="2021-05-10T22:07:56.090" v="1422" actId="403"/>
          <ac:spMkLst>
            <pc:docMk/>
            <pc:sldMk cId="2916827937" sldId="323"/>
            <ac:spMk id="3" creationId="{9E2AFA09-5E05-47FA-A3E9-BE4CDD21A6A9}"/>
          </ac:spMkLst>
        </pc:spChg>
        <pc:graphicFrameChg chg="mod">
          <ac:chgData name="Tony Radkiewicz" userId="9832534a-7e4f-4058-9c41-7f4a5b855c95" providerId="ADAL" clId="{FDA6683D-9326-4144-AA21-22F03B2932EF}" dt="2021-05-10T22:01:36.769" v="1322" actId="14100"/>
          <ac:graphicFrameMkLst>
            <pc:docMk/>
            <pc:sldMk cId="2916827937" sldId="323"/>
            <ac:graphicFrameMk id="10" creationId="{9D86BC91-38BB-4CC5-AE9B-7878AD82DFAE}"/>
          </ac:graphicFrameMkLst>
        </pc:graphicFrameChg>
      </pc:sldChg>
      <pc:sldChg chg="addSp delSp modSp add mod">
        <pc:chgData name="Tony Radkiewicz" userId="9832534a-7e4f-4058-9c41-7f4a5b855c95" providerId="ADAL" clId="{FDA6683D-9326-4144-AA21-22F03B2932EF}" dt="2021-05-10T22:09:21.372" v="1434" actId="14100"/>
        <pc:sldMkLst>
          <pc:docMk/>
          <pc:sldMk cId="3775515087" sldId="324"/>
        </pc:sldMkLst>
        <pc:spChg chg="del mod">
          <ac:chgData name="Tony Radkiewicz" userId="9832534a-7e4f-4058-9c41-7f4a5b855c95" providerId="ADAL" clId="{FDA6683D-9326-4144-AA21-22F03B2932EF}" dt="2021-05-10T22:08:35.276" v="1426" actId="478"/>
          <ac:spMkLst>
            <pc:docMk/>
            <pc:sldMk cId="3775515087" sldId="324"/>
            <ac:spMk id="3" creationId="{9E2AFA09-5E05-47FA-A3E9-BE4CDD21A6A9}"/>
          </ac:spMkLst>
        </pc:spChg>
        <pc:spChg chg="add mod">
          <ac:chgData name="Tony Radkiewicz" userId="9832534a-7e4f-4058-9c41-7f4a5b855c95" providerId="ADAL" clId="{FDA6683D-9326-4144-AA21-22F03B2932EF}" dt="2021-05-10T22:09:21.372" v="1434" actId="14100"/>
          <ac:spMkLst>
            <pc:docMk/>
            <pc:sldMk cId="3775515087" sldId="324"/>
            <ac:spMk id="4" creationId="{65F15E31-FA87-4F5D-9057-C7CF32D8A1F7}"/>
          </ac:spMkLst>
        </pc:spChg>
        <pc:graphicFrameChg chg="mod">
          <ac:chgData name="Tony Radkiewicz" userId="9832534a-7e4f-4058-9c41-7f4a5b855c95" providerId="ADAL" clId="{FDA6683D-9326-4144-AA21-22F03B2932EF}" dt="2021-05-10T22:08:46.869" v="1428" actId="14100"/>
          <ac:graphicFrameMkLst>
            <pc:docMk/>
            <pc:sldMk cId="3775515087" sldId="324"/>
            <ac:graphicFrameMk id="10" creationId="{9D86BC91-38BB-4CC5-AE9B-7878AD82DFAE}"/>
          </ac:graphicFrameMkLst>
        </pc:graphicFrameChg>
      </pc:sldChg>
    </pc:docChg>
  </pc:docChgLst>
  <pc:docChgLst>
    <pc:chgData name="Kory Thacher (APPS / POWERSHELL)" userId="995eb0f2-f21c-467c-a947-4f8fc26d0f2e" providerId="ADAL" clId="{73FB7CDE-4173-417E-9AC7-B387128168B7}"/>
    <pc:docChg chg="delSld modSection">
      <pc:chgData name="Kory Thacher (APPS / POWERSHELL)" userId="995eb0f2-f21c-467c-a947-4f8fc26d0f2e" providerId="ADAL" clId="{73FB7CDE-4173-417E-9AC7-B387128168B7}" dt="2021-06-08T17:51:27.477" v="3" actId="47"/>
      <pc:docMkLst>
        <pc:docMk/>
      </pc:docMkLst>
      <pc:sldChg chg="del">
        <pc:chgData name="Kory Thacher (APPS / POWERSHELL)" userId="995eb0f2-f21c-467c-a947-4f8fc26d0f2e" providerId="ADAL" clId="{73FB7CDE-4173-417E-9AC7-B387128168B7}" dt="2021-06-08T17:51:04.462" v="2" actId="47"/>
        <pc:sldMkLst>
          <pc:docMk/>
          <pc:sldMk cId="368875999" sldId="259"/>
        </pc:sldMkLst>
      </pc:sldChg>
      <pc:sldChg chg="del">
        <pc:chgData name="Kory Thacher (APPS / POWERSHELL)" userId="995eb0f2-f21c-467c-a947-4f8fc26d0f2e" providerId="ADAL" clId="{73FB7CDE-4173-417E-9AC7-B387128168B7}" dt="2021-06-08T17:51:27.477" v="3" actId="47"/>
        <pc:sldMkLst>
          <pc:docMk/>
          <pc:sldMk cId="3569284726" sldId="260"/>
        </pc:sldMkLst>
      </pc:sldChg>
      <pc:sldChg chg="modCm">
        <pc:chgData name="Kory Thacher (APPS / POWERSHELL)" userId="995eb0f2-f21c-467c-a947-4f8fc26d0f2e" providerId="ADAL" clId="{73FB7CDE-4173-417E-9AC7-B387128168B7}" dt="2021-06-08T17:51:01.302" v="1"/>
        <pc:sldMkLst>
          <pc:docMk/>
          <pc:sldMk cId="2339254216" sldId="292"/>
        </pc:sldMkLst>
      </pc:sldChg>
      <pc:sldChg chg="del">
        <pc:chgData name="Kory Thacher (APPS / POWERSHELL)" userId="995eb0f2-f21c-467c-a947-4f8fc26d0f2e" providerId="ADAL" clId="{73FB7CDE-4173-417E-9AC7-B387128168B7}" dt="2021-06-08T17:51:04.462" v="2" actId="47"/>
        <pc:sldMkLst>
          <pc:docMk/>
          <pc:sldMk cId="1047600977" sldId="293"/>
        </pc:sldMkLst>
      </pc:sldChg>
      <pc:sldChg chg="del">
        <pc:chgData name="Kory Thacher (APPS / POWERSHELL)" userId="995eb0f2-f21c-467c-a947-4f8fc26d0f2e" providerId="ADAL" clId="{73FB7CDE-4173-417E-9AC7-B387128168B7}" dt="2021-06-08T17:51:27.477" v="3" actId="47"/>
        <pc:sldMkLst>
          <pc:docMk/>
          <pc:sldMk cId="3807819497" sldId="295"/>
        </pc:sldMkLst>
      </pc:sldChg>
    </pc:docChg>
  </pc:docChgLst>
  <pc:docChgLst>
    <pc:chgData name="Tony Radkiewicz" userId="9832534a-7e4f-4058-9c41-7f4a5b855c95" providerId="ADAL" clId="{B8888675-2D98-433C-BA8C-653117B5DC3E}"/>
    <pc:docChg chg="">
      <pc:chgData name="Tony Radkiewicz" userId="9832534a-7e4f-4058-9c41-7f4a5b855c95" providerId="ADAL" clId="{B8888675-2D98-433C-BA8C-653117B5DC3E}" dt="2022-06-28T16:09:22.565" v="0"/>
      <pc:docMkLst>
        <pc:docMk/>
      </pc:docMkLst>
      <pc:sldChg chg="addCm">
        <pc:chgData name="Tony Radkiewicz" userId="9832534a-7e4f-4058-9c41-7f4a5b855c95" providerId="ADAL" clId="{B8888675-2D98-433C-BA8C-653117B5DC3E}" dt="2022-06-28T16:09:22.565" v="0"/>
        <pc:sldMkLst>
          <pc:docMk/>
          <pc:sldMk cId="38870530" sldId="340"/>
        </pc:sldMkLst>
      </pc:sldChg>
    </pc:docChg>
  </pc:docChgLst>
  <pc:docChgLst>
    <pc:chgData name="Jan-Hendrik Peters" userId="b4a1494c-e397-487b-ba71-b18bd44b670c" providerId="ADAL" clId="{4ACC47A3-A5F0-4220-B9D0-3388BA7AB81B}"/>
    <pc:docChg chg="modSld">
      <pc:chgData name="Jan-Hendrik Peters" userId="b4a1494c-e397-487b-ba71-b18bd44b670c" providerId="ADAL" clId="{4ACC47A3-A5F0-4220-B9D0-3388BA7AB81B}" dt="2022-04-12T07:54:18.897" v="58" actId="20577"/>
      <pc:docMkLst>
        <pc:docMk/>
      </pc:docMkLst>
      <pc:sldChg chg="modNotesTx">
        <pc:chgData name="Jan-Hendrik Peters" userId="b4a1494c-e397-487b-ba71-b18bd44b670c" providerId="ADAL" clId="{4ACC47A3-A5F0-4220-B9D0-3388BA7AB81B}" dt="2022-04-12T07:34:06.376" v="43" actId="20577"/>
        <pc:sldMkLst>
          <pc:docMk/>
          <pc:sldMk cId="2916855770" sldId="266"/>
        </pc:sldMkLst>
      </pc:sldChg>
      <pc:sldChg chg="modNotesTx">
        <pc:chgData name="Jan-Hendrik Peters" userId="b4a1494c-e397-487b-ba71-b18bd44b670c" providerId="ADAL" clId="{4ACC47A3-A5F0-4220-B9D0-3388BA7AB81B}" dt="2022-04-12T07:54:18.897" v="58" actId="20577"/>
        <pc:sldMkLst>
          <pc:docMk/>
          <pc:sldMk cId="1812621327" sldId="275"/>
        </pc:sldMkLst>
      </pc:sldChg>
    </pc:docChg>
  </pc:docChgLst>
</pc:chgInfo>
</file>

<file path=ppt/diagrams/_rels/data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_rels/data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rawing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svg"/></Relationships>
</file>

<file path=ppt/diagrams/_rels/drawing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94A338-68DE-4B0C-971A-A8D49D3E51E6}" type="doc">
      <dgm:prSet loTypeId="urn:microsoft.com/office/officeart/2008/layout/VerticalCircleList" loCatId="list" qsTypeId="urn:microsoft.com/office/officeart/2005/8/quickstyle/simple1" qsCatId="simple" csTypeId="urn:microsoft.com/office/officeart/2005/8/colors/colorful1" csCatId="colorful" phldr="1"/>
      <dgm:spPr/>
      <dgm:t>
        <a:bodyPr/>
        <a:lstStyle/>
        <a:p>
          <a:endParaRPr lang="en-US"/>
        </a:p>
      </dgm:t>
    </dgm:pt>
    <dgm:pt modelId="{5E58CB16-4F89-407A-B3DE-C38085622C4C}">
      <dgm:prSet/>
      <dgm:spPr/>
      <dgm:t>
        <a:bodyPr/>
        <a:lstStyle/>
        <a:p>
          <a:r>
            <a:rPr lang="en-US" baseline="0"/>
            <a:t>Parameter Attribute</a:t>
          </a:r>
          <a:endParaRPr lang="en-US"/>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BBF04210-6213-48BF-AAD1-8808EC9626CE}">
      <dgm:prSet/>
      <dgm:spPr/>
      <dgm:t>
        <a:bodyPr/>
        <a:lstStyle/>
        <a:p>
          <a:r>
            <a:rPr lang="en-US"/>
            <a:t>Alias Attribute</a:t>
          </a:r>
        </a:p>
      </dgm:t>
    </dgm:pt>
    <dgm:pt modelId="{DFE90546-8957-4D18-8D34-6BE8E91524BE}" type="parTrans" cxnId="{F7BC3EF9-8C69-45D2-B1CA-CB351FFE2AFC}">
      <dgm:prSet/>
      <dgm:spPr/>
      <dgm:t>
        <a:bodyPr/>
        <a:lstStyle/>
        <a:p>
          <a:endParaRPr lang="en-US"/>
        </a:p>
      </dgm:t>
    </dgm:pt>
    <dgm:pt modelId="{0E07D457-49EF-4DF2-80F6-2C114AEB1527}" type="sibTrans" cxnId="{F7BC3EF9-8C69-45D2-B1CA-CB351FFE2AFC}">
      <dgm:prSet/>
      <dgm:spPr/>
      <dgm:t>
        <a:bodyPr/>
        <a:lstStyle/>
        <a:p>
          <a:endParaRPr lang="en-US"/>
        </a:p>
      </dgm:t>
    </dgm:pt>
    <dgm:pt modelId="{7BC0C7F5-C4D1-4B3D-97BE-BB7FC39727BD}">
      <dgm:prSet/>
      <dgm:spPr/>
      <dgm:t>
        <a:bodyPr/>
        <a:lstStyle/>
        <a:p>
          <a:r>
            <a:rPr lang="en-US" baseline="0"/>
            <a:t>Parameter Validation Attributes</a:t>
          </a:r>
          <a:endParaRPr lang="en-US"/>
        </a:p>
      </dgm:t>
    </dgm:pt>
    <dgm:pt modelId="{D1C0A51F-A44A-4434-98CB-844B9F6D1676}" type="parTrans" cxnId="{53FDE8E2-78A1-4247-96FF-5A8DADD5B1E6}">
      <dgm:prSet/>
      <dgm:spPr/>
      <dgm:t>
        <a:bodyPr/>
        <a:lstStyle/>
        <a:p>
          <a:endParaRPr lang="en-US"/>
        </a:p>
      </dgm:t>
    </dgm:pt>
    <dgm:pt modelId="{6231E9E0-D6A8-46B0-887A-E2DB3BA8B507}" type="sibTrans" cxnId="{53FDE8E2-78A1-4247-96FF-5A8DADD5B1E6}">
      <dgm:prSet/>
      <dgm:spPr/>
      <dgm:t>
        <a:bodyPr/>
        <a:lstStyle/>
        <a:p>
          <a:endParaRPr lang="en-US"/>
        </a:p>
      </dgm:t>
    </dgm:pt>
    <dgm:pt modelId="{51F53401-2341-4C1B-962C-397CBD6495C1}" type="pres">
      <dgm:prSet presAssocID="{7E94A338-68DE-4B0C-971A-A8D49D3E51E6}" presName="Name0" presStyleCnt="0">
        <dgm:presLayoutVars>
          <dgm:dir/>
        </dgm:presLayoutVars>
      </dgm:prSet>
      <dgm:spPr/>
    </dgm:pt>
    <dgm:pt modelId="{895E5E3B-92E6-459C-A103-04B287F085DD}" type="pres">
      <dgm:prSet presAssocID="{5E58CB16-4F89-407A-B3DE-C38085622C4C}" presName="noChildren" presStyleCnt="0"/>
      <dgm:spPr/>
    </dgm:pt>
    <dgm:pt modelId="{E0367CA1-D7CB-45FF-B2B8-4514580C62F4}" type="pres">
      <dgm:prSet presAssocID="{5E58CB16-4F89-407A-B3DE-C38085622C4C}" presName="gap" presStyleCnt="0"/>
      <dgm:spPr/>
    </dgm:pt>
    <dgm:pt modelId="{8BCA30AB-085D-4A5D-9CBB-208A50A3890D}" type="pres">
      <dgm:prSet presAssocID="{5E58CB16-4F89-407A-B3DE-C38085622C4C}" presName="medCircle2" presStyleLbl="vennNode1" presStyleIdx="0" presStyleCnt="3"/>
      <dgm:spPr/>
    </dgm:pt>
    <dgm:pt modelId="{733FA7D7-0A7B-4AF9-A0D4-21A5FB4B2E3D}" type="pres">
      <dgm:prSet presAssocID="{5E58CB16-4F89-407A-B3DE-C38085622C4C}" presName="txLvlOnly1" presStyleLbl="revTx" presStyleIdx="0" presStyleCnt="3"/>
      <dgm:spPr/>
    </dgm:pt>
    <dgm:pt modelId="{08F3F31E-FBF6-4AE6-92F2-20A641450AC1}" type="pres">
      <dgm:prSet presAssocID="{BBF04210-6213-48BF-AAD1-8808EC9626CE}" presName="noChildren" presStyleCnt="0"/>
      <dgm:spPr/>
    </dgm:pt>
    <dgm:pt modelId="{6333DD6D-FBF1-4950-9172-188FC020DDF8}" type="pres">
      <dgm:prSet presAssocID="{BBF04210-6213-48BF-AAD1-8808EC9626CE}" presName="gap" presStyleCnt="0"/>
      <dgm:spPr/>
    </dgm:pt>
    <dgm:pt modelId="{8760CCA7-EC25-4DB7-8FC4-8CBA9E462D37}" type="pres">
      <dgm:prSet presAssocID="{BBF04210-6213-48BF-AAD1-8808EC9626CE}" presName="medCircle2" presStyleLbl="vennNode1" presStyleIdx="1" presStyleCnt="3"/>
      <dgm:spPr/>
    </dgm:pt>
    <dgm:pt modelId="{0B0D3FE8-96C7-44AB-B45F-136E597E39B5}" type="pres">
      <dgm:prSet presAssocID="{BBF04210-6213-48BF-AAD1-8808EC9626CE}" presName="txLvlOnly1" presStyleLbl="revTx" presStyleIdx="1" presStyleCnt="3"/>
      <dgm:spPr/>
    </dgm:pt>
    <dgm:pt modelId="{51460796-46E6-4F92-AC2B-B8A1CE6A99AF}" type="pres">
      <dgm:prSet presAssocID="{7BC0C7F5-C4D1-4B3D-97BE-BB7FC39727BD}" presName="noChildren" presStyleCnt="0"/>
      <dgm:spPr/>
    </dgm:pt>
    <dgm:pt modelId="{84BD058E-748B-49DF-882E-A79F60A57ECE}" type="pres">
      <dgm:prSet presAssocID="{7BC0C7F5-C4D1-4B3D-97BE-BB7FC39727BD}" presName="gap" presStyleCnt="0"/>
      <dgm:spPr/>
    </dgm:pt>
    <dgm:pt modelId="{AD2E48C8-9097-4AB1-A148-EAF663F7DFD9}" type="pres">
      <dgm:prSet presAssocID="{7BC0C7F5-C4D1-4B3D-97BE-BB7FC39727BD}" presName="medCircle2" presStyleLbl="vennNode1" presStyleIdx="2" presStyleCnt="3"/>
      <dgm:spPr/>
    </dgm:pt>
    <dgm:pt modelId="{22B7A49F-F530-445E-9861-44087CF4912E}" type="pres">
      <dgm:prSet presAssocID="{7BC0C7F5-C4D1-4B3D-97BE-BB7FC39727BD}" presName="txLvlOnly1" presStyleLbl="revTx" presStyleIdx="2" presStyleCnt="3"/>
      <dgm:spPr/>
    </dgm:pt>
  </dgm:ptLst>
  <dgm:cxnLst>
    <dgm:cxn modelId="{F9135F86-06BF-4A31-A1F8-BFC6BD78BD9C}" type="presOf" srcId="{5E58CB16-4F89-407A-B3DE-C38085622C4C}" destId="{733FA7D7-0A7B-4AF9-A0D4-21A5FB4B2E3D}" srcOrd="0" destOrd="0" presId="urn:microsoft.com/office/officeart/2008/layout/VerticalCircleList"/>
    <dgm:cxn modelId="{24AFD891-E45B-43D3-A24B-4C2E05852E29}" srcId="{7E94A338-68DE-4B0C-971A-A8D49D3E51E6}" destId="{5E58CB16-4F89-407A-B3DE-C38085622C4C}" srcOrd="0" destOrd="0" parTransId="{B515A74B-859E-4274-8D67-94E93CB8D556}" sibTransId="{F99C8DFF-425A-48CC-A0ED-62264A99311D}"/>
    <dgm:cxn modelId="{94D37499-E053-434F-8C0B-F4958D947674}" type="presOf" srcId="{7E94A338-68DE-4B0C-971A-A8D49D3E51E6}" destId="{51F53401-2341-4C1B-962C-397CBD6495C1}" srcOrd="0" destOrd="0" presId="urn:microsoft.com/office/officeart/2008/layout/VerticalCircleList"/>
    <dgm:cxn modelId="{6987B8C7-CC79-41E7-9FD6-527C38FE27BE}" type="presOf" srcId="{BBF04210-6213-48BF-AAD1-8808EC9626CE}" destId="{0B0D3FE8-96C7-44AB-B45F-136E597E39B5}" srcOrd="0" destOrd="0" presId="urn:microsoft.com/office/officeart/2008/layout/VerticalCircleList"/>
    <dgm:cxn modelId="{53FDE8E2-78A1-4247-96FF-5A8DADD5B1E6}" srcId="{7E94A338-68DE-4B0C-971A-A8D49D3E51E6}" destId="{7BC0C7F5-C4D1-4B3D-97BE-BB7FC39727BD}" srcOrd="2" destOrd="0" parTransId="{D1C0A51F-A44A-4434-98CB-844B9F6D1676}" sibTransId="{6231E9E0-D6A8-46B0-887A-E2DB3BA8B507}"/>
    <dgm:cxn modelId="{EAC886EB-8A85-4C9F-98AE-A15EA8D4E628}" type="presOf" srcId="{7BC0C7F5-C4D1-4B3D-97BE-BB7FC39727BD}" destId="{22B7A49F-F530-445E-9861-44087CF4912E}" srcOrd="0" destOrd="0" presId="urn:microsoft.com/office/officeart/2008/layout/VerticalCircleList"/>
    <dgm:cxn modelId="{F7BC3EF9-8C69-45D2-B1CA-CB351FFE2AFC}" srcId="{7E94A338-68DE-4B0C-971A-A8D49D3E51E6}" destId="{BBF04210-6213-48BF-AAD1-8808EC9626CE}" srcOrd="1" destOrd="0" parTransId="{DFE90546-8957-4D18-8D34-6BE8E91524BE}" sibTransId="{0E07D457-49EF-4DF2-80F6-2C114AEB1527}"/>
    <dgm:cxn modelId="{EE5D4136-7102-45C0-9C27-6392A2751445}" type="presParOf" srcId="{51F53401-2341-4C1B-962C-397CBD6495C1}" destId="{895E5E3B-92E6-459C-A103-04B287F085DD}" srcOrd="0" destOrd="0" presId="urn:microsoft.com/office/officeart/2008/layout/VerticalCircleList"/>
    <dgm:cxn modelId="{F384B7C8-468B-46D6-9B0B-3756F3045404}" type="presParOf" srcId="{895E5E3B-92E6-459C-A103-04B287F085DD}" destId="{E0367CA1-D7CB-45FF-B2B8-4514580C62F4}" srcOrd="0" destOrd="0" presId="urn:microsoft.com/office/officeart/2008/layout/VerticalCircleList"/>
    <dgm:cxn modelId="{1C5D2B0F-FADE-41D7-8C75-251E59999EA9}" type="presParOf" srcId="{895E5E3B-92E6-459C-A103-04B287F085DD}" destId="{8BCA30AB-085D-4A5D-9CBB-208A50A3890D}" srcOrd="1" destOrd="0" presId="urn:microsoft.com/office/officeart/2008/layout/VerticalCircleList"/>
    <dgm:cxn modelId="{6C39DD02-B0CE-4743-8FC8-559E9ACC294E}" type="presParOf" srcId="{895E5E3B-92E6-459C-A103-04B287F085DD}" destId="{733FA7D7-0A7B-4AF9-A0D4-21A5FB4B2E3D}" srcOrd="2" destOrd="0" presId="urn:microsoft.com/office/officeart/2008/layout/VerticalCircleList"/>
    <dgm:cxn modelId="{F8EFDC9C-9ADB-443F-BCA9-28B127D5C1E2}" type="presParOf" srcId="{51F53401-2341-4C1B-962C-397CBD6495C1}" destId="{08F3F31E-FBF6-4AE6-92F2-20A641450AC1}" srcOrd="1" destOrd="0" presId="urn:microsoft.com/office/officeart/2008/layout/VerticalCircleList"/>
    <dgm:cxn modelId="{5115DA4D-7A75-4670-BE31-76619B1F8976}" type="presParOf" srcId="{08F3F31E-FBF6-4AE6-92F2-20A641450AC1}" destId="{6333DD6D-FBF1-4950-9172-188FC020DDF8}" srcOrd="0" destOrd="0" presId="urn:microsoft.com/office/officeart/2008/layout/VerticalCircleList"/>
    <dgm:cxn modelId="{CCB2E1E8-882A-4F2D-823D-EBFCAB1D985F}" type="presParOf" srcId="{08F3F31E-FBF6-4AE6-92F2-20A641450AC1}" destId="{8760CCA7-EC25-4DB7-8FC4-8CBA9E462D37}" srcOrd="1" destOrd="0" presId="urn:microsoft.com/office/officeart/2008/layout/VerticalCircleList"/>
    <dgm:cxn modelId="{9EAF3DBA-1D12-40D8-B169-42A03FE82C87}" type="presParOf" srcId="{08F3F31E-FBF6-4AE6-92F2-20A641450AC1}" destId="{0B0D3FE8-96C7-44AB-B45F-136E597E39B5}" srcOrd="2" destOrd="0" presId="urn:microsoft.com/office/officeart/2008/layout/VerticalCircleList"/>
    <dgm:cxn modelId="{F026FD69-3EF1-4376-892C-50452F650AA3}" type="presParOf" srcId="{51F53401-2341-4C1B-962C-397CBD6495C1}" destId="{51460796-46E6-4F92-AC2B-B8A1CE6A99AF}" srcOrd="2" destOrd="0" presId="urn:microsoft.com/office/officeart/2008/layout/VerticalCircleList"/>
    <dgm:cxn modelId="{68398E5C-5657-4C00-86D5-E762FA975EB1}" type="presParOf" srcId="{51460796-46E6-4F92-AC2B-B8A1CE6A99AF}" destId="{84BD058E-748B-49DF-882E-A79F60A57ECE}" srcOrd="0" destOrd="0" presId="urn:microsoft.com/office/officeart/2008/layout/VerticalCircleList"/>
    <dgm:cxn modelId="{7A078247-1900-46ED-9645-872356D239ED}" type="presParOf" srcId="{51460796-46E6-4F92-AC2B-B8A1CE6A99AF}" destId="{AD2E48C8-9097-4AB1-A148-EAF663F7DFD9}" srcOrd="1" destOrd="0" presId="urn:microsoft.com/office/officeart/2008/layout/VerticalCircleList"/>
    <dgm:cxn modelId="{E804F7B5-2704-408D-8B70-0298672725B9}" type="presParOf" srcId="{51460796-46E6-4F92-AC2B-B8A1CE6A99AF}" destId="{22B7A49F-F530-445E-9861-44087CF4912E}" srcOrd="2" destOrd="0" presId="urn:microsoft.com/office/officeart/2008/layout/Vertical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FB56198-0ADF-4A71-9ED5-BCAE380CA1E0}"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04F3EA17-AFCA-42C4-9FB4-8EC8A79F9836}">
      <dgm:prSet custT="1"/>
      <dgm:spPr/>
      <dgm:t>
        <a:bodyPr/>
        <a:lstStyle/>
        <a:p>
          <a:r>
            <a:rPr lang="en-US" sz="2800"/>
            <a:t>Allows the parameter to accept </a:t>
          </a:r>
          <a:r>
            <a:rPr lang="en-US" sz="2800" b="1"/>
            <a:t>overflow</a:t>
          </a:r>
          <a:r>
            <a:rPr lang="en-US" sz="2800"/>
            <a:t> parameters</a:t>
          </a:r>
        </a:p>
      </dgm:t>
    </dgm:pt>
    <dgm:pt modelId="{55E910F2-5AAC-4C70-8624-0D830F3A8568}" type="parTrans" cxnId="{8A51FF38-BA54-4DA4-8599-50B0950539D3}">
      <dgm:prSet/>
      <dgm:spPr/>
      <dgm:t>
        <a:bodyPr/>
        <a:lstStyle/>
        <a:p>
          <a:endParaRPr lang="en-US" sz="2800"/>
        </a:p>
      </dgm:t>
    </dgm:pt>
    <dgm:pt modelId="{D76F4D2B-B480-4D98-85C0-82517557AE8F}" type="sibTrans" cxnId="{8A51FF38-BA54-4DA4-8599-50B0950539D3}">
      <dgm:prSet/>
      <dgm:spPr/>
      <dgm:t>
        <a:bodyPr/>
        <a:lstStyle/>
        <a:p>
          <a:endParaRPr lang="en-US" sz="2800"/>
        </a:p>
      </dgm:t>
    </dgm:pt>
    <dgm:pt modelId="{4D07F8E3-CE39-43A6-AF78-3EFB53BB9640}">
      <dgm:prSet custT="1"/>
      <dgm:spPr/>
      <dgm:t>
        <a:bodyPr/>
        <a:lstStyle/>
        <a:p>
          <a:r>
            <a:rPr lang="en-US" sz="2800"/>
            <a:t>The parameter type is </a:t>
          </a:r>
          <a:r>
            <a:rPr lang="en-US" sz="2800" b="1"/>
            <a:t>converted</a:t>
          </a:r>
          <a:r>
            <a:rPr lang="en-US" sz="2800"/>
            <a:t> to an </a:t>
          </a:r>
          <a:r>
            <a:rPr lang="en-US" sz="2800" b="1"/>
            <a:t>array</a:t>
          </a:r>
          <a:r>
            <a:rPr lang="en-US" sz="2800"/>
            <a:t> of objects</a:t>
          </a:r>
        </a:p>
      </dgm:t>
    </dgm:pt>
    <dgm:pt modelId="{1CBE423A-42BC-496E-8C73-B7E05B9E34D9}" type="parTrans" cxnId="{3E690FC6-1D87-49BB-99BE-D1C9FB28CF08}">
      <dgm:prSet/>
      <dgm:spPr/>
      <dgm:t>
        <a:bodyPr/>
        <a:lstStyle/>
        <a:p>
          <a:endParaRPr lang="en-US" sz="2800"/>
        </a:p>
      </dgm:t>
    </dgm:pt>
    <dgm:pt modelId="{9D6C9EBD-801D-40AC-AF58-24103E538EFD}" type="sibTrans" cxnId="{3E690FC6-1D87-49BB-99BE-D1C9FB28CF08}">
      <dgm:prSet/>
      <dgm:spPr/>
      <dgm:t>
        <a:bodyPr/>
        <a:lstStyle/>
        <a:p>
          <a:endParaRPr lang="en-US" sz="2800"/>
        </a:p>
      </dgm:t>
    </dgm:pt>
    <dgm:pt modelId="{CD1AE879-3446-4E7E-B1DD-0E5C236F9298}">
      <dgm:prSet custT="1"/>
      <dgm:spPr/>
      <dgm:t>
        <a:bodyPr/>
        <a:lstStyle/>
        <a:p>
          <a:r>
            <a:rPr lang="en-US" sz="2800"/>
            <a:t>Forces the parameter to be the </a:t>
          </a:r>
          <a:r>
            <a:rPr lang="en-US" sz="2800" b="1"/>
            <a:t>last position</a:t>
          </a:r>
        </a:p>
      </dgm:t>
    </dgm:pt>
    <dgm:pt modelId="{AB79EC98-8F25-4E80-AC8C-A6807780ED87}" type="parTrans" cxnId="{247D2574-3012-4422-AEA5-81330F9C863A}">
      <dgm:prSet/>
      <dgm:spPr/>
      <dgm:t>
        <a:bodyPr/>
        <a:lstStyle/>
        <a:p>
          <a:endParaRPr lang="en-US" sz="2800"/>
        </a:p>
      </dgm:t>
    </dgm:pt>
    <dgm:pt modelId="{05EB4922-CAC7-40C0-B169-88D86E2A6824}" type="sibTrans" cxnId="{247D2574-3012-4422-AEA5-81330F9C863A}">
      <dgm:prSet/>
      <dgm:spPr/>
      <dgm:t>
        <a:bodyPr/>
        <a:lstStyle/>
        <a:p>
          <a:endParaRPr lang="en-US" sz="2800"/>
        </a:p>
      </dgm:t>
    </dgm:pt>
    <dgm:pt modelId="{A44FB402-4016-4040-9F32-683DE0697B2C}">
      <dgm:prSet custT="1"/>
      <dgm:spPr/>
      <dgm:t>
        <a:bodyPr/>
        <a:lstStyle/>
        <a:p>
          <a:r>
            <a:rPr lang="en-US" sz="2800"/>
            <a:t>Only allowed on a </a:t>
          </a:r>
          <a:r>
            <a:rPr lang="en-US" sz="2800" b="1"/>
            <a:t>single</a:t>
          </a:r>
          <a:r>
            <a:rPr lang="en-US" sz="2800"/>
            <a:t> parameter</a:t>
          </a:r>
        </a:p>
      </dgm:t>
    </dgm:pt>
    <dgm:pt modelId="{89FC58F4-CF4A-41D4-B86E-E8647DD03775}" type="parTrans" cxnId="{3D010503-72D5-494A-B3AD-EB768A573295}">
      <dgm:prSet/>
      <dgm:spPr/>
      <dgm:t>
        <a:bodyPr/>
        <a:lstStyle/>
        <a:p>
          <a:endParaRPr lang="en-US" sz="2800"/>
        </a:p>
      </dgm:t>
    </dgm:pt>
    <dgm:pt modelId="{BE5E7491-53C6-4413-8FFC-0F917F251980}" type="sibTrans" cxnId="{3D010503-72D5-494A-B3AD-EB768A573295}">
      <dgm:prSet/>
      <dgm:spPr/>
      <dgm:t>
        <a:bodyPr/>
        <a:lstStyle/>
        <a:p>
          <a:endParaRPr lang="en-US" sz="2800"/>
        </a:p>
      </dgm:t>
    </dgm:pt>
    <dgm:pt modelId="{64AE2BA9-75EE-44FB-912E-68475CAB60BD}" type="pres">
      <dgm:prSet presAssocID="{0FB56198-0ADF-4A71-9ED5-BCAE380CA1E0}" presName="Name0" presStyleCnt="0">
        <dgm:presLayoutVars>
          <dgm:chMax val="7"/>
          <dgm:dir/>
          <dgm:animLvl val="lvl"/>
          <dgm:resizeHandles val="exact"/>
        </dgm:presLayoutVars>
      </dgm:prSet>
      <dgm:spPr/>
    </dgm:pt>
    <dgm:pt modelId="{A5C7F873-DA56-47DA-9597-61CA982585EB}" type="pres">
      <dgm:prSet presAssocID="{04F3EA17-AFCA-42C4-9FB4-8EC8A79F9836}" presName="circle1" presStyleLbl="node1" presStyleIdx="0" presStyleCnt="4"/>
      <dgm:spPr/>
    </dgm:pt>
    <dgm:pt modelId="{AABE7945-E0A2-4957-975F-24DEDFAD8177}" type="pres">
      <dgm:prSet presAssocID="{04F3EA17-AFCA-42C4-9FB4-8EC8A79F9836}" presName="space" presStyleCnt="0"/>
      <dgm:spPr/>
    </dgm:pt>
    <dgm:pt modelId="{DBCB30C2-79F3-4746-98E2-5E25DBB1D459}" type="pres">
      <dgm:prSet presAssocID="{04F3EA17-AFCA-42C4-9FB4-8EC8A79F9836}" presName="rect1" presStyleLbl="alignAcc1" presStyleIdx="0" presStyleCnt="4"/>
      <dgm:spPr/>
    </dgm:pt>
    <dgm:pt modelId="{81D45C8C-C911-4928-8F1C-40A36CDE47D1}" type="pres">
      <dgm:prSet presAssocID="{4D07F8E3-CE39-43A6-AF78-3EFB53BB9640}" presName="vertSpace2" presStyleLbl="node1" presStyleIdx="0" presStyleCnt="4"/>
      <dgm:spPr/>
    </dgm:pt>
    <dgm:pt modelId="{FF02340A-6CA9-41E2-AC89-254E3D369D80}" type="pres">
      <dgm:prSet presAssocID="{4D07F8E3-CE39-43A6-AF78-3EFB53BB9640}" presName="circle2" presStyleLbl="node1" presStyleIdx="1" presStyleCnt="4"/>
      <dgm:spPr/>
    </dgm:pt>
    <dgm:pt modelId="{4D63858D-2CD5-45FF-9091-B05092439B57}" type="pres">
      <dgm:prSet presAssocID="{4D07F8E3-CE39-43A6-AF78-3EFB53BB9640}" presName="rect2" presStyleLbl="alignAcc1" presStyleIdx="1" presStyleCnt="4"/>
      <dgm:spPr/>
    </dgm:pt>
    <dgm:pt modelId="{0D2594E3-90E2-4B80-AA4A-749D73E44599}" type="pres">
      <dgm:prSet presAssocID="{CD1AE879-3446-4E7E-B1DD-0E5C236F9298}" presName="vertSpace3" presStyleLbl="node1" presStyleIdx="1" presStyleCnt="4"/>
      <dgm:spPr/>
    </dgm:pt>
    <dgm:pt modelId="{ED5878ED-DFE8-4C40-BBF0-E2BDC75B2F85}" type="pres">
      <dgm:prSet presAssocID="{CD1AE879-3446-4E7E-B1DD-0E5C236F9298}" presName="circle3" presStyleLbl="node1" presStyleIdx="2" presStyleCnt="4"/>
      <dgm:spPr/>
    </dgm:pt>
    <dgm:pt modelId="{CC737AFE-F3F5-4CDB-AB4C-4E39992988A0}" type="pres">
      <dgm:prSet presAssocID="{CD1AE879-3446-4E7E-B1DD-0E5C236F9298}" presName="rect3" presStyleLbl="alignAcc1" presStyleIdx="2" presStyleCnt="4"/>
      <dgm:spPr/>
    </dgm:pt>
    <dgm:pt modelId="{F67973A7-5565-43BC-BFEB-318835996FA0}" type="pres">
      <dgm:prSet presAssocID="{A44FB402-4016-4040-9F32-683DE0697B2C}" presName="vertSpace4" presStyleLbl="node1" presStyleIdx="2" presStyleCnt="4"/>
      <dgm:spPr/>
    </dgm:pt>
    <dgm:pt modelId="{19BA4C63-90DB-49CD-8D31-0D726ACE54CF}" type="pres">
      <dgm:prSet presAssocID="{A44FB402-4016-4040-9F32-683DE0697B2C}" presName="circle4" presStyleLbl="node1" presStyleIdx="3" presStyleCnt="4"/>
      <dgm:spPr/>
    </dgm:pt>
    <dgm:pt modelId="{CC30CBF4-E727-48D8-B2F6-3E78177AD0BA}" type="pres">
      <dgm:prSet presAssocID="{A44FB402-4016-4040-9F32-683DE0697B2C}" presName="rect4" presStyleLbl="alignAcc1" presStyleIdx="3" presStyleCnt="4"/>
      <dgm:spPr/>
    </dgm:pt>
    <dgm:pt modelId="{A3B72EAF-BA83-416A-AF94-A77B0E5E2150}" type="pres">
      <dgm:prSet presAssocID="{04F3EA17-AFCA-42C4-9FB4-8EC8A79F9836}" presName="rect1ParTxNoCh" presStyleLbl="alignAcc1" presStyleIdx="3" presStyleCnt="4">
        <dgm:presLayoutVars>
          <dgm:chMax val="1"/>
          <dgm:bulletEnabled val="1"/>
        </dgm:presLayoutVars>
      </dgm:prSet>
      <dgm:spPr/>
    </dgm:pt>
    <dgm:pt modelId="{DC059287-7374-4AFE-AE22-5182FA1AA46C}" type="pres">
      <dgm:prSet presAssocID="{4D07F8E3-CE39-43A6-AF78-3EFB53BB9640}" presName="rect2ParTxNoCh" presStyleLbl="alignAcc1" presStyleIdx="3" presStyleCnt="4">
        <dgm:presLayoutVars>
          <dgm:chMax val="1"/>
          <dgm:bulletEnabled val="1"/>
        </dgm:presLayoutVars>
      </dgm:prSet>
      <dgm:spPr/>
    </dgm:pt>
    <dgm:pt modelId="{F7B2074E-710D-423D-AC95-17BA4EA629D5}" type="pres">
      <dgm:prSet presAssocID="{CD1AE879-3446-4E7E-B1DD-0E5C236F9298}" presName="rect3ParTxNoCh" presStyleLbl="alignAcc1" presStyleIdx="3" presStyleCnt="4">
        <dgm:presLayoutVars>
          <dgm:chMax val="1"/>
          <dgm:bulletEnabled val="1"/>
        </dgm:presLayoutVars>
      </dgm:prSet>
      <dgm:spPr/>
    </dgm:pt>
    <dgm:pt modelId="{D6CF79B0-FB07-413C-8561-297B4C307673}" type="pres">
      <dgm:prSet presAssocID="{A44FB402-4016-4040-9F32-683DE0697B2C}" presName="rect4ParTxNoCh" presStyleLbl="alignAcc1" presStyleIdx="3" presStyleCnt="4">
        <dgm:presLayoutVars>
          <dgm:chMax val="1"/>
          <dgm:bulletEnabled val="1"/>
        </dgm:presLayoutVars>
      </dgm:prSet>
      <dgm:spPr/>
    </dgm:pt>
  </dgm:ptLst>
  <dgm:cxnLst>
    <dgm:cxn modelId="{3D010503-72D5-494A-B3AD-EB768A573295}" srcId="{0FB56198-0ADF-4A71-9ED5-BCAE380CA1E0}" destId="{A44FB402-4016-4040-9F32-683DE0697B2C}" srcOrd="3" destOrd="0" parTransId="{89FC58F4-CF4A-41D4-B86E-E8647DD03775}" sibTransId="{BE5E7491-53C6-4413-8FFC-0F917F251980}"/>
    <dgm:cxn modelId="{F656E306-6240-46EF-9BD9-C7E90FB26B2C}" type="presOf" srcId="{A44FB402-4016-4040-9F32-683DE0697B2C}" destId="{D6CF79B0-FB07-413C-8561-297B4C307673}" srcOrd="1" destOrd="0" presId="urn:microsoft.com/office/officeart/2005/8/layout/target3"/>
    <dgm:cxn modelId="{F56D2E08-E144-415E-AF9B-39003D4BE59E}" type="presOf" srcId="{0FB56198-0ADF-4A71-9ED5-BCAE380CA1E0}" destId="{64AE2BA9-75EE-44FB-912E-68475CAB60BD}" srcOrd="0" destOrd="0" presId="urn:microsoft.com/office/officeart/2005/8/layout/target3"/>
    <dgm:cxn modelId="{E4631409-BBC2-4EFA-A9CF-E9AB013DC407}" type="presOf" srcId="{4D07F8E3-CE39-43A6-AF78-3EFB53BB9640}" destId="{DC059287-7374-4AFE-AE22-5182FA1AA46C}" srcOrd="1" destOrd="0" presId="urn:microsoft.com/office/officeart/2005/8/layout/target3"/>
    <dgm:cxn modelId="{CF403D13-5292-41C4-8600-0E9E52015CA2}" type="presOf" srcId="{4D07F8E3-CE39-43A6-AF78-3EFB53BB9640}" destId="{4D63858D-2CD5-45FF-9091-B05092439B57}" srcOrd="0" destOrd="0" presId="urn:microsoft.com/office/officeart/2005/8/layout/target3"/>
    <dgm:cxn modelId="{8A51FF38-BA54-4DA4-8599-50B0950539D3}" srcId="{0FB56198-0ADF-4A71-9ED5-BCAE380CA1E0}" destId="{04F3EA17-AFCA-42C4-9FB4-8EC8A79F9836}" srcOrd="0" destOrd="0" parTransId="{55E910F2-5AAC-4C70-8624-0D830F3A8568}" sibTransId="{D76F4D2B-B480-4D98-85C0-82517557AE8F}"/>
    <dgm:cxn modelId="{6CB8A573-B1F4-4C35-B888-930AD00CB443}" type="presOf" srcId="{04F3EA17-AFCA-42C4-9FB4-8EC8A79F9836}" destId="{A3B72EAF-BA83-416A-AF94-A77B0E5E2150}" srcOrd="1" destOrd="0" presId="urn:microsoft.com/office/officeart/2005/8/layout/target3"/>
    <dgm:cxn modelId="{247D2574-3012-4422-AEA5-81330F9C863A}" srcId="{0FB56198-0ADF-4A71-9ED5-BCAE380CA1E0}" destId="{CD1AE879-3446-4E7E-B1DD-0E5C236F9298}" srcOrd="2" destOrd="0" parTransId="{AB79EC98-8F25-4E80-AC8C-A6807780ED87}" sibTransId="{05EB4922-CAC7-40C0-B169-88D86E2A6824}"/>
    <dgm:cxn modelId="{6FD76078-9691-4590-873D-E3F8A55CF4F9}" type="presOf" srcId="{CD1AE879-3446-4E7E-B1DD-0E5C236F9298}" destId="{CC737AFE-F3F5-4CDB-AB4C-4E39992988A0}" srcOrd="0" destOrd="0" presId="urn:microsoft.com/office/officeart/2005/8/layout/target3"/>
    <dgm:cxn modelId="{FBD27896-996F-4CE6-9E95-A0882E20DCC7}" type="presOf" srcId="{CD1AE879-3446-4E7E-B1DD-0E5C236F9298}" destId="{F7B2074E-710D-423D-AC95-17BA4EA629D5}" srcOrd="1" destOrd="0" presId="urn:microsoft.com/office/officeart/2005/8/layout/target3"/>
    <dgm:cxn modelId="{7BBCA6BB-4CF9-4A7E-A377-023BB81DFDE8}" type="presOf" srcId="{A44FB402-4016-4040-9F32-683DE0697B2C}" destId="{CC30CBF4-E727-48D8-B2F6-3E78177AD0BA}" srcOrd="0" destOrd="0" presId="urn:microsoft.com/office/officeart/2005/8/layout/target3"/>
    <dgm:cxn modelId="{3E690FC6-1D87-49BB-99BE-D1C9FB28CF08}" srcId="{0FB56198-0ADF-4A71-9ED5-BCAE380CA1E0}" destId="{4D07F8E3-CE39-43A6-AF78-3EFB53BB9640}" srcOrd="1" destOrd="0" parTransId="{1CBE423A-42BC-496E-8C73-B7E05B9E34D9}" sibTransId="{9D6C9EBD-801D-40AC-AF58-24103E538EFD}"/>
    <dgm:cxn modelId="{3AEF4DD8-D17D-4A40-92CD-A7F3D3280760}" type="presOf" srcId="{04F3EA17-AFCA-42C4-9FB4-8EC8A79F9836}" destId="{DBCB30C2-79F3-4746-98E2-5E25DBB1D459}" srcOrd="0" destOrd="0" presId="urn:microsoft.com/office/officeart/2005/8/layout/target3"/>
    <dgm:cxn modelId="{BE19A33E-B302-4B22-99CB-FFC562888C97}" type="presParOf" srcId="{64AE2BA9-75EE-44FB-912E-68475CAB60BD}" destId="{A5C7F873-DA56-47DA-9597-61CA982585EB}" srcOrd="0" destOrd="0" presId="urn:microsoft.com/office/officeart/2005/8/layout/target3"/>
    <dgm:cxn modelId="{BCE1D50E-B674-4D9C-8976-8890D5DC27A8}" type="presParOf" srcId="{64AE2BA9-75EE-44FB-912E-68475CAB60BD}" destId="{AABE7945-E0A2-4957-975F-24DEDFAD8177}" srcOrd="1" destOrd="0" presId="urn:microsoft.com/office/officeart/2005/8/layout/target3"/>
    <dgm:cxn modelId="{D93C43F1-9DB4-4748-86AE-8FFC05F81CCC}" type="presParOf" srcId="{64AE2BA9-75EE-44FB-912E-68475CAB60BD}" destId="{DBCB30C2-79F3-4746-98E2-5E25DBB1D459}" srcOrd="2" destOrd="0" presId="urn:microsoft.com/office/officeart/2005/8/layout/target3"/>
    <dgm:cxn modelId="{07959B96-9A9F-4A1C-9645-60C42FB3A04A}" type="presParOf" srcId="{64AE2BA9-75EE-44FB-912E-68475CAB60BD}" destId="{81D45C8C-C911-4928-8F1C-40A36CDE47D1}" srcOrd="3" destOrd="0" presId="urn:microsoft.com/office/officeart/2005/8/layout/target3"/>
    <dgm:cxn modelId="{F4987314-91F8-4147-9B45-BDF3915B063C}" type="presParOf" srcId="{64AE2BA9-75EE-44FB-912E-68475CAB60BD}" destId="{FF02340A-6CA9-41E2-AC89-254E3D369D80}" srcOrd="4" destOrd="0" presId="urn:microsoft.com/office/officeart/2005/8/layout/target3"/>
    <dgm:cxn modelId="{3ADF0BE5-1E70-490D-B691-197A9278C2A6}" type="presParOf" srcId="{64AE2BA9-75EE-44FB-912E-68475CAB60BD}" destId="{4D63858D-2CD5-45FF-9091-B05092439B57}" srcOrd="5" destOrd="0" presId="urn:microsoft.com/office/officeart/2005/8/layout/target3"/>
    <dgm:cxn modelId="{E63EE54F-D7B4-4EEB-87F9-0ED7520A5B14}" type="presParOf" srcId="{64AE2BA9-75EE-44FB-912E-68475CAB60BD}" destId="{0D2594E3-90E2-4B80-AA4A-749D73E44599}" srcOrd="6" destOrd="0" presId="urn:microsoft.com/office/officeart/2005/8/layout/target3"/>
    <dgm:cxn modelId="{4D7AB16A-6912-4D27-931E-60889C6DBBC1}" type="presParOf" srcId="{64AE2BA9-75EE-44FB-912E-68475CAB60BD}" destId="{ED5878ED-DFE8-4C40-BBF0-E2BDC75B2F85}" srcOrd="7" destOrd="0" presId="urn:microsoft.com/office/officeart/2005/8/layout/target3"/>
    <dgm:cxn modelId="{661B0BC2-FD42-469D-A365-2B886A5FD0F3}" type="presParOf" srcId="{64AE2BA9-75EE-44FB-912E-68475CAB60BD}" destId="{CC737AFE-F3F5-4CDB-AB4C-4E39992988A0}" srcOrd="8" destOrd="0" presId="urn:microsoft.com/office/officeart/2005/8/layout/target3"/>
    <dgm:cxn modelId="{3A873632-BE45-49F1-A166-A2284BA67406}" type="presParOf" srcId="{64AE2BA9-75EE-44FB-912E-68475CAB60BD}" destId="{F67973A7-5565-43BC-BFEB-318835996FA0}" srcOrd="9" destOrd="0" presId="urn:microsoft.com/office/officeart/2005/8/layout/target3"/>
    <dgm:cxn modelId="{A4D25E1F-ABB1-48B3-A3F6-71DA87368CE2}" type="presParOf" srcId="{64AE2BA9-75EE-44FB-912E-68475CAB60BD}" destId="{19BA4C63-90DB-49CD-8D31-0D726ACE54CF}" srcOrd="10" destOrd="0" presId="urn:microsoft.com/office/officeart/2005/8/layout/target3"/>
    <dgm:cxn modelId="{862AB2C4-4E64-4D39-9855-C15640536BAA}" type="presParOf" srcId="{64AE2BA9-75EE-44FB-912E-68475CAB60BD}" destId="{CC30CBF4-E727-48D8-B2F6-3E78177AD0BA}" srcOrd="11" destOrd="0" presId="urn:microsoft.com/office/officeart/2005/8/layout/target3"/>
    <dgm:cxn modelId="{B0C80642-2D91-4D20-8901-120C45D1A299}" type="presParOf" srcId="{64AE2BA9-75EE-44FB-912E-68475CAB60BD}" destId="{A3B72EAF-BA83-416A-AF94-A77B0E5E2150}" srcOrd="12" destOrd="0" presId="urn:microsoft.com/office/officeart/2005/8/layout/target3"/>
    <dgm:cxn modelId="{16A74C9F-43E5-481D-A3DA-E19A5A5B504D}" type="presParOf" srcId="{64AE2BA9-75EE-44FB-912E-68475CAB60BD}" destId="{DC059287-7374-4AFE-AE22-5182FA1AA46C}" srcOrd="13" destOrd="0" presId="urn:microsoft.com/office/officeart/2005/8/layout/target3"/>
    <dgm:cxn modelId="{7D70B546-AE95-4AD4-AE5A-E3BD44D4BCB3}" type="presParOf" srcId="{64AE2BA9-75EE-44FB-912E-68475CAB60BD}" destId="{F7B2074E-710D-423D-AC95-17BA4EA629D5}" srcOrd="14" destOrd="0" presId="urn:microsoft.com/office/officeart/2005/8/layout/target3"/>
    <dgm:cxn modelId="{2DF17C98-6EF9-4760-BC79-8B37459ABE0F}" type="presParOf" srcId="{64AE2BA9-75EE-44FB-912E-68475CAB60BD}" destId="{D6CF79B0-FB07-413C-8561-297B4C307673}" srcOrd="15" destOrd="0" presId="urn:microsoft.com/office/officeart/2005/8/layout/targe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DB55049-E3F2-48EB-BA66-873F625A5E95}"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C5CEC330-8194-40F3-BD17-AE954E667406}">
      <dgm:prSet custT="1"/>
      <dgm:spPr/>
      <dgm:t>
        <a:bodyPr/>
        <a:lstStyle/>
        <a:p>
          <a:r>
            <a:rPr lang="en-US" sz="2600" baseline="0"/>
            <a:t>Provides built-in parameter input validation</a:t>
          </a:r>
          <a:endParaRPr lang="en-US" sz="2600"/>
        </a:p>
      </dgm:t>
    </dgm:pt>
    <dgm:pt modelId="{36FA8296-347C-4F9B-B917-2FFBEE87CE4C}" type="parTrans" cxnId="{AC11D35F-A67D-4DE1-A239-0B139C871644}">
      <dgm:prSet/>
      <dgm:spPr/>
      <dgm:t>
        <a:bodyPr/>
        <a:lstStyle/>
        <a:p>
          <a:endParaRPr lang="en-US" sz="2600"/>
        </a:p>
      </dgm:t>
    </dgm:pt>
    <dgm:pt modelId="{42FDDD94-D8B2-445A-BC9B-A51713601ECB}" type="sibTrans" cxnId="{AC11D35F-A67D-4DE1-A239-0B139C871644}">
      <dgm:prSet/>
      <dgm:spPr/>
      <dgm:t>
        <a:bodyPr/>
        <a:lstStyle/>
        <a:p>
          <a:endParaRPr lang="en-US" sz="2600"/>
        </a:p>
      </dgm:t>
    </dgm:pt>
    <dgm:pt modelId="{27CD968C-9BFB-4B2B-880C-D8AA7C921D48}">
      <dgm:prSet custT="1"/>
      <dgm:spPr/>
      <dgm:t>
        <a:bodyPr/>
        <a:lstStyle/>
        <a:p>
          <a:r>
            <a:rPr lang="en-US" sz="2600" baseline="0"/>
            <a:t>Validates values before executing code</a:t>
          </a:r>
          <a:endParaRPr lang="en-US" sz="2600"/>
        </a:p>
      </dgm:t>
    </dgm:pt>
    <dgm:pt modelId="{29911BB0-3B44-4EC4-A1A0-E4A64F415343}" type="parTrans" cxnId="{17EC93F0-6806-4E55-A5E9-E6AB481AA1AD}">
      <dgm:prSet/>
      <dgm:spPr/>
      <dgm:t>
        <a:bodyPr/>
        <a:lstStyle/>
        <a:p>
          <a:endParaRPr lang="en-US" sz="2600"/>
        </a:p>
      </dgm:t>
    </dgm:pt>
    <dgm:pt modelId="{71FA52E6-D6C4-4AF3-86AA-03C65C27D204}" type="sibTrans" cxnId="{17EC93F0-6806-4E55-A5E9-E6AB481AA1AD}">
      <dgm:prSet/>
      <dgm:spPr/>
      <dgm:t>
        <a:bodyPr/>
        <a:lstStyle/>
        <a:p>
          <a:endParaRPr lang="en-US" sz="2600"/>
        </a:p>
      </dgm:t>
    </dgm:pt>
    <dgm:pt modelId="{4391A1EB-1E36-4EEE-ADF9-7B90CC2C5591}">
      <dgm:prSet custT="1"/>
      <dgm:spPr/>
      <dgm:t>
        <a:bodyPr/>
        <a:lstStyle/>
        <a:p>
          <a:r>
            <a:rPr lang="en-US" sz="2600"/>
            <a:t>Invalid parameter input returns an error</a:t>
          </a:r>
        </a:p>
      </dgm:t>
    </dgm:pt>
    <dgm:pt modelId="{86947C7A-FD35-4911-93B0-DAA85793ECD3}" type="parTrans" cxnId="{65AF3671-2371-4B88-8E21-C02FC6EFECC5}">
      <dgm:prSet/>
      <dgm:spPr/>
      <dgm:t>
        <a:bodyPr/>
        <a:lstStyle/>
        <a:p>
          <a:endParaRPr lang="en-US" sz="2600"/>
        </a:p>
      </dgm:t>
    </dgm:pt>
    <dgm:pt modelId="{690885E2-219F-40BD-8FE0-31D43DAD67D0}" type="sibTrans" cxnId="{65AF3671-2371-4B88-8E21-C02FC6EFECC5}">
      <dgm:prSet/>
      <dgm:spPr/>
      <dgm:t>
        <a:bodyPr/>
        <a:lstStyle/>
        <a:p>
          <a:endParaRPr lang="en-US" sz="2600"/>
        </a:p>
      </dgm:t>
    </dgm:pt>
    <dgm:pt modelId="{B08489DB-07A9-4C74-BD2E-47A3292C0AB9}" type="pres">
      <dgm:prSet presAssocID="{FDB55049-E3F2-48EB-BA66-873F625A5E95}" presName="Name0" presStyleCnt="0">
        <dgm:presLayoutVars>
          <dgm:dir/>
          <dgm:animLvl val="lvl"/>
          <dgm:resizeHandles val="exact"/>
        </dgm:presLayoutVars>
      </dgm:prSet>
      <dgm:spPr/>
    </dgm:pt>
    <dgm:pt modelId="{C9AB153D-2F77-4B84-A686-4ECBA957CEC9}" type="pres">
      <dgm:prSet presAssocID="{4391A1EB-1E36-4EEE-ADF9-7B90CC2C5591}" presName="boxAndChildren" presStyleCnt="0"/>
      <dgm:spPr/>
    </dgm:pt>
    <dgm:pt modelId="{2E607FB0-C7E8-4E93-A6D2-F7A2A88A39F6}" type="pres">
      <dgm:prSet presAssocID="{4391A1EB-1E36-4EEE-ADF9-7B90CC2C5591}" presName="parentTextBox" presStyleLbl="node1" presStyleIdx="0" presStyleCnt="3"/>
      <dgm:spPr/>
    </dgm:pt>
    <dgm:pt modelId="{928699BE-1111-421D-82BB-DA5893C62035}" type="pres">
      <dgm:prSet presAssocID="{71FA52E6-D6C4-4AF3-86AA-03C65C27D204}" presName="sp" presStyleCnt="0"/>
      <dgm:spPr/>
    </dgm:pt>
    <dgm:pt modelId="{1F9AD6E5-DFC3-4C83-9B34-B295C0C95750}" type="pres">
      <dgm:prSet presAssocID="{27CD968C-9BFB-4B2B-880C-D8AA7C921D48}" presName="arrowAndChildren" presStyleCnt="0"/>
      <dgm:spPr/>
    </dgm:pt>
    <dgm:pt modelId="{4EE1EF53-C05B-4FFC-AE52-977AD8A21C83}" type="pres">
      <dgm:prSet presAssocID="{27CD968C-9BFB-4B2B-880C-D8AA7C921D48}" presName="parentTextArrow" presStyleLbl="node1" presStyleIdx="1" presStyleCnt="3"/>
      <dgm:spPr/>
    </dgm:pt>
    <dgm:pt modelId="{5E71F11D-6596-4531-A3C6-F84475C82677}" type="pres">
      <dgm:prSet presAssocID="{42FDDD94-D8B2-445A-BC9B-A51713601ECB}" presName="sp" presStyleCnt="0"/>
      <dgm:spPr/>
    </dgm:pt>
    <dgm:pt modelId="{71C01A94-80DE-4FD8-95BA-B8C11E8E4D38}" type="pres">
      <dgm:prSet presAssocID="{C5CEC330-8194-40F3-BD17-AE954E667406}" presName="arrowAndChildren" presStyleCnt="0"/>
      <dgm:spPr/>
    </dgm:pt>
    <dgm:pt modelId="{2F02FF1D-F59F-4CE0-8A63-E4C81D557683}" type="pres">
      <dgm:prSet presAssocID="{C5CEC330-8194-40F3-BD17-AE954E667406}" presName="parentTextArrow" presStyleLbl="node1" presStyleIdx="2" presStyleCnt="3"/>
      <dgm:spPr/>
    </dgm:pt>
  </dgm:ptLst>
  <dgm:cxnLst>
    <dgm:cxn modelId="{AC11D35F-A67D-4DE1-A239-0B139C871644}" srcId="{FDB55049-E3F2-48EB-BA66-873F625A5E95}" destId="{C5CEC330-8194-40F3-BD17-AE954E667406}" srcOrd="0" destOrd="0" parTransId="{36FA8296-347C-4F9B-B917-2FFBEE87CE4C}" sibTransId="{42FDDD94-D8B2-445A-BC9B-A51713601ECB}"/>
    <dgm:cxn modelId="{5418E046-E0E5-41D5-9BCE-929E0881178C}" type="presOf" srcId="{C5CEC330-8194-40F3-BD17-AE954E667406}" destId="{2F02FF1D-F59F-4CE0-8A63-E4C81D557683}" srcOrd="0" destOrd="0" presId="urn:microsoft.com/office/officeart/2005/8/layout/process4"/>
    <dgm:cxn modelId="{A6EC916E-1EC8-4D5C-873F-F816A6D6D899}" type="presOf" srcId="{FDB55049-E3F2-48EB-BA66-873F625A5E95}" destId="{B08489DB-07A9-4C74-BD2E-47A3292C0AB9}" srcOrd="0" destOrd="0" presId="urn:microsoft.com/office/officeart/2005/8/layout/process4"/>
    <dgm:cxn modelId="{65AF3671-2371-4B88-8E21-C02FC6EFECC5}" srcId="{FDB55049-E3F2-48EB-BA66-873F625A5E95}" destId="{4391A1EB-1E36-4EEE-ADF9-7B90CC2C5591}" srcOrd="2" destOrd="0" parTransId="{86947C7A-FD35-4911-93B0-DAA85793ECD3}" sibTransId="{690885E2-219F-40BD-8FE0-31D43DAD67D0}"/>
    <dgm:cxn modelId="{0ABB2887-FBA6-4ED9-8F17-FABEC30839FB}" type="presOf" srcId="{4391A1EB-1E36-4EEE-ADF9-7B90CC2C5591}" destId="{2E607FB0-C7E8-4E93-A6D2-F7A2A88A39F6}" srcOrd="0" destOrd="0" presId="urn:microsoft.com/office/officeart/2005/8/layout/process4"/>
    <dgm:cxn modelId="{30EC64C9-57CA-472F-8435-120A3E322986}" type="presOf" srcId="{27CD968C-9BFB-4B2B-880C-D8AA7C921D48}" destId="{4EE1EF53-C05B-4FFC-AE52-977AD8A21C83}" srcOrd="0" destOrd="0" presId="urn:microsoft.com/office/officeart/2005/8/layout/process4"/>
    <dgm:cxn modelId="{17EC93F0-6806-4E55-A5E9-E6AB481AA1AD}" srcId="{FDB55049-E3F2-48EB-BA66-873F625A5E95}" destId="{27CD968C-9BFB-4B2B-880C-D8AA7C921D48}" srcOrd="1" destOrd="0" parTransId="{29911BB0-3B44-4EC4-A1A0-E4A64F415343}" sibTransId="{71FA52E6-D6C4-4AF3-86AA-03C65C27D204}"/>
    <dgm:cxn modelId="{85637890-D95B-4CAE-933A-B4DE02C3A4C1}" type="presParOf" srcId="{B08489DB-07A9-4C74-BD2E-47A3292C0AB9}" destId="{C9AB153D-2F77-4B84-A686-4ECBA957CEC9}" srcOrd="0" destOrd="0" presId="urn:microsoft.com/office/officeart/2005/8/layout/process4"/>
    <dgm:cxn modelId="{E8903429-E292-478F-8F18-C61FFA8A1172}" type="presParOf" srcId="{C9AB153D-2F77-4B84-A686-4ECBA957CEC9}" destId="{2E607FB0-C7E8-4E93-A6D2-F7A2A88A39F6}" srcOrd="0" destOrd="0" presId="urn:microsoft.com/office/officeart/2005/8/layout/process4"/>
    <dgm:cxn modelId="{173D05A0-7CF7-4854-A9CE-18880F75D537}" type="presParOf" srcId="{B08489DB-07A9-4C74-BD2E-47A3292C0AB9}" destId="{928699BE-1111-421D-82BB-DA5893C62035}" srcOrd="1" destOrd="0" presId="urn:microsoft.com/office/officeart/2005/8/layout/process4"/>
    <dgm:cxn modelId="{93EED7CE-CB4C-485C-B966-31C4D385F9F2}" type="presParOf" srcId="{B08489DB-07A9-4C74-BD2E-47A3292C0AB9}" destId="{1F9AD6E5-DFC3-4C83-9B34-B295C0C95750}" srcOrd="2" destOrd="0" presId="urn:microsoft.com/office/officeart/2005/8/layout/process4"/>
    <dgm:cxn modelId="{C66BFF44-05F3-4D23-9E2E-D67C4A8E7513}" type="presParOf" srcId="{1F9AD6E5-DFC3-4C83-9B34-B295C0C95750}" destId="{4EE1EF53-C05B-4FFC-AE52-977AD8A21C83}" srcOrd="0" destOrd="0" presId="urn:microsoft.com/office/officeart/2005/8/layout/process4"/>
    <dgm:cxn modelId="{29CD66A7-38A8-4A34-9CD3-3D64E37FE462}" type="presParOf" srcId="{B08489DB-07A9-4C74-BD2E-47A3292C0AB9}" destId="{5E71F11D-6596-4531-A3C6-F84475C82677}" srcOrd="3" destOrd="0" presId="urn:microsoft.com/office/officeart/2005/8/layout/process4"/>
    <dgm:cxn modelId="{5FD2A09C-84F9-43D1-801A-75CD70B2F59A}" type="presParOf" srcId="{B08489DB-07A9-4C74-BD2E-47A3292C0AB9}" destId="{71C01A94-80DE-4FD8-95BA-B8C11E8E4D38}" srcOrd="4" destOrd="0" presId="urn:microsoft.com/office/officeart/2005/8/layout/process4"/>
    <dgm:cxn modelId="{E6FE5D15-FA38-4B9E-86C9-DA31F44AF75A}" type="presParOf" srcId="{71C01A94-80DE-4FD8-95BA-B8C11E8E4D38}" destId="{2F02FF1D-F59F-4CE0-8A63-E4C81D557683}" srcOrd="0"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02FA076-E7EE-4174-9127-2664F227B13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CB70DBA-83BC-49EA-9270-EE1BF3E439F4}">
      <dgm:prSet custT="1"/>
      <dgm:spPr/>
      <dgm:t>
        <a:bodyPr/>
        <a:lstStyle/>
        <a:p>
          <a:r>
            <a:rPr lang="en-US" sz="2400" err="1"/>
            <a:t>AllowNull</a:t>
          </a:r>
          <a:r>
            <a:rPr lang="en-US" sz="2400"/>
            <a:t>()</a:t>
          </a:r>
        </a:p>
      </dgm:t>
    </dgm:pt>
    <dgm:pt modelId="{83DE127F-8875-4C4C-BAD0-E0320F1A609E}" type="parTrans" cxnId="{6FC8E862-A9BB-4832-A28A-B3C538198F4D}">
      <dgm:prSet/>
      <dgm:spPr/>
      <dgm:t>
        <a:bodyPr/>
        <a:lstStyle/>
        <a:p>
          <a:endParaRPr lang="en-US" sz="2400"/>
        </a:p>
      </dgm:t>
    </dgm:pt>
    <dgm:pt modelId="{8409B0EC-D66E-4931-9B36-626F504BC492}" type="sibTrans" cxnId="{6FC8E862-A9BB-4832-A28A-B3C538198F4D}">
      <dgm:prSet/>
      <dgm:spPr/>
      <dgm:t>
        <a:bodyPr/>
        <a:lstStyle/>
        <a:p>
          <a:endParaRPr lang="en-US" sz="2400"/>
        </a:p>
      </dgm:t>
    </dgm:pt>
    <dgm:pt modelId="{AEDC7898-2381-4BDD-91CC-A953D79AC2A8}">
      <dgm:prSet custT="1"/>
      <dgm:spPr/>
      <dgm:t>
        <a:bodyPr/>
        <a:lstStyle/>
        <a:p>
          <a:r>
            <a:rPr lang="en-US" sz="2400" err="1"/>
            <a:t>AllowEmptyString</a:t>
          </a:r>
          <a:r>
            <a:rPr lang="en-US" sz="2400"/>
            <a:t>()</a:t>
          </a:r>
        </a:p>
      </dgm:t>
    </dgm:pt>
    <dgm:pt modelId="{0244E891-E620-4C0B-A213-1C9AA919C809}" type="parTrans" cxnId="{3EBEABB3-C9F6-48E5-A47E-3B4E478B7ED9}">
      <dgm:prSet/>
      <dgm:spPr/>
      <dgm:t>
        <a:bodyPr/>
        <a:lstStyle/>
        <a:p>
          <a:endParaRPr lang="en-US" sz="2400"/>
        </a:p>
      </dgm:t>
    </dgm:pt>
    <dgm:pt modelId="{DE2294E1-0986-45C3-90C1-B2E7B41C3A00}" type="sibTrans" cxnId="{3EBEABB3-C9F6-48E5-A47E-3B4E478B7ED9}">
      <dgm:prSet/>
      <dgm:spPr/>
      <dgm:t>
        <a:bodyPr/>
        <a:lstStyle/>
        <a:p>
          <a:endParaRPr lang="en-US" sz="2400"/>
        </a:p>
      </dgm:t>
    </dgm:pt>
    <dgm:pt modelId="{86C969D0-4083-47AA-B2B1-0EE25F1F602E}">
      <dgm:prSet custT="1"/>
      <dgm:spPr/>
      <dgm:t>
        <a:bodyPr/>
        <a:lstStyle/>
        <a:p>
          <a:r>
            <a:rPr lang="en-US" sz="2400" err="1"/>
            <a:t>AllowEmptyCollection</a:t>
          </a:r>
          <a:r>
            <a:rPr lang="en-US" sz="2400"/>
            <a:t>()</a:t>
          </a:r>
        </a:p>
      </dgm:t>
    </dgm:pt>
    <dgm:pt modelId="{A2DB4AFD-8BEC-4380-8187-A1A07C9C517C}" type="parTrans" cxnId="{96490FB2-0236-451B-B29C-4ACF854152FD}">
      <dgm:prSet/>
      <dgm:spPr/>
      <dgm:t>
        <a:bodyPr/>
        <a:lstStyle/>
        <a:p>
          <a:endParaRPr lang="en-US" sz="2400"/>
        </a:p>
      </dgm:t>
    </dgm:pt>
    <dgm:pt modelId="{274849FE-F7E1-4471-971D-D1EF1DE76085}" type="sibTrans" cxnId="{96490FB2-0236-451B-B29C-4ACF854152FD}">
      <dgm:prSet/>
      <dgm:spPr/>
      <dgm:t>
        <a:bodyPr/>
        <a:lstStyle/>
        <a:p>
          <a:endParaRPr lang="en-US" sz="2400"/>
        </a:p>
      </dgm:t>
    </dgm:pt>
    <dgm:pt modelId="{52158719-D159-4587-87D5-96EF63DD4E0E}">
      <dgm:prSet custT="1"/>
      <dgm:spPr/>
      <dgm:t>
        <a:bodyPr/>
        <a:lstStyle/>
        <a:p>
          <a:r>
            <a:rPr lang="en-US" sz="2400" err="1"/>
            <a:t>ValidateCount</a:t>
          </a:r>
          <a:r>
            <a:rPr lang="en-US" sz="2400"/>
            <a:t>()</a:t>
          </a:r>
        </a:p>
      </dgm:t>
    </dgm:pt>
    <dgm:pt modelId="{243F7150-DCC3-4EF1-B066-049D273FBBC3}" type="parTrans" cxnId="{B1591998-1DE5-4662-8968-7594C8778B0D}">
      <dgm:prSet/>
      <dgm:spPr/>
      <dgm:t>
        <a:bodyPr/>
        <a:lstStyle/>
        <a:p>
          <a:endParaRPr lang="en-US" sz="2400"/>
        </a:p>
      </dgm:t>
    </dgm:pt>
    <dgm:pt modelId="{D9620CA5-5D39-456C-9E78-94CA03BFB5FB}" type="sibTrans" cxnId="{B1591998-1DE5-4662-8968-7594C8778B0D}">
      <dgm:prSet/>
      <dgm:spPr/>
      <dgm:t>
        <a:bodyPr/>
        <a:lstStyle/>
        <a:p>
          <a:endParaRPr lang="en-US" sz="2400"/>
        </a:p>
      </dgm:t>
    </dgm:pt>
    <dgm:pt modelId="{DD210AC9-25D4-4417-A7B3-0F1E7A9BB43F}">
      <dgm:prSet custT="1"/>
      <dgm:spPr/>
      <dgm:t>
        <a:bodyPr/>
        <a:lstStyle/>
        <a:p>
          <a:r>
            <a:rPr lang="en-US" sz="2400" err="1"/>
            <a:t>ValidateLength</a:t>
          </a:r>
          <a:r>
            <a:rPr lang="en-US" sz="2400"/>
            <a:t>()</a:t>
          </a:r>
        </a:p>
      </dgm:t>
    </dgm:pt>
    <dgm:pt modelId="{B1F12A37-1635-4352-9DCD-0A34FC6BAC2C}" type="parTrans" cxnId="{69268AD2-3FD5-44C7-A479-AE356884DCFA}">
      <dgm:prSet/>
      <dgm:spPr/>
      <dgm:t>
        <a:bodyPr/>
        <a:lstStyle/>
        <a:p>
          <a:endParaRPr lang="en-US" sz="2400"/>
        </a:p>
      </dgm:t>
    </dgm:pt>
    <dgm:pt modelId="{7A94F62A-25AD-4A07-86E3-AEC3589784CE}" type="sibTrans" cxnId="{69268AD2-3FD5-44C7-A479-AE356884DCFA}">
      <dgm:prSet/>
      <dgm:spPr/>
      <dgm:t>
        <a:bodyPr/>
        <a:lstStyle/>
        <a:p>
          <a:endParaRPr lang="en-US" sz="2400"/>
        </a:p>
      </dgm:t>
    </dgm:pt>
    <dgm:pt modelId="{D65C602F-61C7-4DC8-A318-23DDA0D33EB7}">
      <dgm:prSet custT="1"/>
      <dgm:spPr/>
      <dgm:t>
        <a:bodyPr/>
        <a:lstStyle/>
        <a:p>
          <a:r>
            <a:rPr lang="en-US" sz="2400" err="1"/>
            <a:t>ValidatePattern</a:t>
          </a:r>
          <a:r>
            <a:rPr lang="en-US" sz="2400"/>
            <a:t>()</a:t>
          </a:r>
        </a:p>
      </dgm:t>
    </dgm:pt>
    <dgm:pt modelId="{174AF058-FF13-4B9B-9F74-2A06E2EAEC22}" type="parTrans" cxnId="{5A3954AF-868F-4190-8AB3-F98EB70A80A2}">
      <dgm:prSet/>
      <dgm:spPr/>
      <dgm:t>
        <a:bodyPr/>
        <a:lstStyle/>
        <a:p>
          <a:endParaRPr lang="en-US" sz="2400"/>
        </a:p>
      </dgm:t>
    </dgm:pt>
    <dgm:pt modelId="{ECC7BCB3-5A37-4BCB-81A1-B6217E38C30A}" type="sibTrans" cxnId="{5A3954AF-868F-4190-8AB3-F98EB70A80A2}">
      <dgm:prSet/>
      <dgm:spPr/>
      <dgm:t>
        <a:bodyPr/>
        <a:lstStyle/>
        <a:p>
          <a:endParaRPr lang="en-US" sz="2400"/>
        </a:p>
      </dgm:t>
    </dgm:pt>
    <dgm:pt modelId="{CA66FC0B-5EC9-46FD-9BD4-D2DE855F9E9F}" type="pres">
      <dgm:prSet presAssocID="{402FA076-E7EE-4174-9127-2664F227B13E}" presName="vert0" presStyleCnt="0">
        <dgm:presLayoutVars>
          <dgm:dir/>
          <dgm:animOne val="branch"/>
          <dgm:animLvl val="lvl"/>
        </dgm:presLayoutVars>
      </dgm:prSet>
      <dgm:spPr/>
    </dgm:pt>
    <dgm:pt modelId="{3F71B3AE-D428-4453-BCC9-687E54AFB595}" type="pres">
      <dgm:prSet presAssocID="{FCB70DBA-83BC-49EA-9270-EE1BF3E439F4}" presName="thickLine" presStyleLbl="alignNode1" presStyleIdx="0" presStyleCnt="6"/>
      <dgm:spPr/>
    </dgm:pt>
    <dgm:pt modelId="{0DF6946F-BF36-4BCE-933A-C8B31D6787B9}" type="pres">
      <dgm:prSet presAssocID="{FCB70DBA-83BC-49EA-9270-EE1BF3E439F4}" presName="horz1" presStyleCnt="0"/>
      <dgm:spPr/>
    </dgm:pt>
    <dgm:pt modelId="{45608983-2A3C-464E-8E88-9CDE739C16E1}" type="pres">
      <dgm:prSet presAssocID="{FCB70DBA-83BC-49EA-9270-EE1BF3E439F4}" presName="tx1" presStyleLbl="revTx" presStyleIdx="0" presStyleCnt="6"/>
      <dgm:spPr/>
    </dgm:pt>
    <dgm:pt modelId="{96A3D39E-7168-41DE-AFFE-CEFDFE99F9D3}" type="pres">
      <dgm:prSet presAssocID="{FCB70DBA-83BC-49EA-9270-EE1BF3E439F4}" presName="vert1" presStyleCnt="0"/>
      <dgm:spPr/>
    </dgm:pt>
    <dgm:pt modelId="{D3225FB0-E857-4587-ACFB-6B4BA459FFD4}" type="pres">
      <dgm:prSet presAssocID="{AEDC7898-2381-4BDD-91CC-A953D79AC2A8}" presName="thickLine" presStyleLbl="alignNode1" presStyleIdx="1" presStyleCnt="6"/>
      <dgm:spPr/>
    </dgm:pt>
    <dgm:pt modelId="{1A5E50F8-55EC-42F7-8B42-8676B7961422}" type="pres">
      <dgm:prSet presAssocID="{AEDC7898-2381-4BDD-91CC-A953D79AC2A8}" presName="horz1" presStyleCnt="0"/>
      <dgm:spPr/>
    </dgm:pt>
    <dgm:pt modelId="{E1EA1A85-6EAE-4D4F-B7BE-F3FD3597DFF1}" type="pres">
      <dgm:prSet presAssocID="{AEDC7898-2381-4BDD-91CC-A953D79AC2A8}" presName="tx1" presStyleLbl="revTx" presStyleIdx="1" presStyleCnt="6"/>
      <dgm:spPr/>
    </dgm:pt>
    <dgm:pt modelId="{9704AA3D-1A68-4197-80CC-7407C12BE7F1}" type="pres">
      <dgm:prSet presAssocID="{AEDC7898-2381-4BDD-91CC-A953D79AC2A8}" presName="vert1" presStyleCnt="0"/>
      <dgm:spPr/>
    </dgm:pt>
    <dgm:pt modelId="{83C30FF5-A5EE-4399-935D-F7BB93F34817}" type="pres">
      <dgm:prSet presAssocID="{86C969D0-4083-47AA-B2B1-0EE25F1F602E}" presName="thickLine" presStyleLbl="alignNode1" presStyleIdx="2" presStyleCnt="6"/>
      <dgm:spPr/>
    </dgm:pt>
    <dgm:pt modelId="{2769EB03-6CB8-42AD-9C2C-0275B6E8B8F5}" type="pres">
      <dgm:prSet presAssocID="{86C969D0-4083-47AA-B2B1-0EE25F1F602E}" presName="horz1" presStyleCnt="0"/>
      <dgm:spPr/>
    </dgm:pt>
    <dgm:pt modelId="{050339B3-FE9C-4379-B55F-B3964F87AE25}" type="pres">
      <dgm:prSet presAssocID="{86C969D0-4083-47AA-B2B1-0EE25F1F602E}" presName="tx1" presStyleLbl="revTx" presStyleIdx="2" presStyleCnt="6"/>
      <dgm:spPr/>
    </dgm:pt>
    <dgm:pt modelId="{BF847357-2FE0-4E7B-9665-0D2E8D645EB5}" type="pres">
      <dgm:prSet presAssocID="{86C969D0-4083-47AA-B2B1-0EE25F1F602E}" presName="vert1" presStyleCnt="0"/>
      <dgm:spPr/>
    </dgm:pt>
    <dgm:pt modelId="{B4116B71-374D-4752-A20D-5CB10B79C016}" type="pres">
      <dgm:prSet presAssocID="{52158719-D159-4587-87D5-96EF63DD4E0E}" presName="thickLine" presStyleLbl="alignNode1" presStyleIdx="3" presStyleCnt="6"/>
      <dgm:spPr/>
    </dgm:pt>
    <dgm:pt modelId="{4B4F1E8E-4EE6-4420-8422-014B6D0B1062}" type="pres">
      <dgm:prSet presAssocID="{52158719-D159-4587-87D5-96EF63DD4E0E}" presName="horz1" presStyleCnt="0"/>
      <dgm:spPr/>
    </dgm:pt>
    <dgm:pt modelId="{472D1895-F426-4563-A341-2989108E0918}" type="pres">
      <dgm:prSet presAssocID="{52158719-D159-4587-87D5-96EF63DD4E0E}" presName="tx1" presStyleLbl="revTx" presStyleIdx="3" presStyleCnt="6"/>
      <dgm:spPr/>
    </dgm:pt>
    <dgm:pt modelId="{2E9EAF8D-54AC-492D-97A3-CB78DC0BE6FF}" type="pres">
      <dgm:prSet presAssocID="{52158719-D159-4587-87D5-96EF63DD4E0E}" presName="vert1" presStyleCnt="0"/>
      <dgm:spPr/>
    </dgm:pt>
    <dgm:pt modelId="{C13BABA0-BE77-4908-929F-3D4B074E7641}" type="pres">
      <dgm:prSet presAssocID="{DD210AC9-25D4-4417-A7B3-0F1E7A9BB43F}" presName="thickLine" presStyleLbl="alignNode1" presStyleIdx="4" presStyleCnt="6"/>
      <dgm:spPr/>
    </dgm:pt>
    <dgm:pt modelId="{425542F2-B1D4-4A70-B4A6-AFED23A99EA9}" type="pres">
      <dgm:prSet presAssocID="{DD210AC9-25D4-4417-A7B3-0F1E7A9BB43F}" presName="horz1" presStyleCnt="0"/>
      <dgm:spPr/>
    </dgm:pt>
    <dgm:pt modelId="{71BB346A-9063-4148-921A-CFAC107E8278}" type="pres">
      <dgm:prSet presAssocID="{DD210AC9-25D4-4417-A7B3-0F1E7A9BB43F}" presName="tx1" presStyleLbl="revTx" presStyleIdx="4" presStyleCnt="6"/>
      <dgm:spPr/>
    </dgm:pt>
    <dgm:pt modelId="{6B35BA9F-4DC3-4DFB-8017-955FBC881730}" type="pres">
      <dgm:prSet presAssocID="{DD210AC9-25D4-4417-A7B3-0F1E7A9BB43F}" presName="vert1" presStyleCnt="0"/>
      <dgm:spPr/>
    </dgm:pt>
    <dgm:pt modelId="{310B1B0A-D337-4351-B093-487BADCC141B}" type="pres">
      <dgm:prSet presAssocID="{D65C602F-61C7-4DC8-A318-23DDA0D33EB7}" presName="thickLine" presStyleLbl="alignNode1" presStyleIdx="5" presStyleCnt="6"/>
      <dgm:spPr/>
    </dgm:pt>
    <dgm:pt modelId="{22A85CE1-A3BC-4570-9FE2-0830FFE8F5C9}" type="pres">
      <dgm:prSet presAssocID="{D65C602F-61C7-4DC8-A318-23DDA0D33EB7}" presName="horz1" presStyleCnt="0"/>
      <dgm:spPr/>
    </dgm:pt>
    <dgm:pt modelId="{10EA68C8-4C2E-4A08-AE48-A68ABDB0E7A1}" type="pres">
      <dgm:prSet presAssocID="{D65C602F-61C7-4DC8-A318-23DDA0D33EB7}" presName="tx1" presStyleLbl="revTx" presStyleIdx="5" presStyleCnt="6"/>
      <dgm:spPr/>
    </dgm:pt>
    <dgm:pt modelId="{858DFBAA-429A-48D5-9B31-24B029EF8219}" type="pres">
      <dgm:prSet presAssocID="{D65C602F-61C7-4DC8-A318-23DDA0D33EB7}" presName="vert1" presStyleCnt="0"/>
      <dgm:spPr/>
    </dgm:pt>
  </dgm:ptLst>
  <dgm:cxnLst>
    <dgm:cxn modelId="{2C5A1135-9780-4060-B11F-01B17A620312}" type="presOf" srcId="{402FA076-E7EE-4174-9127-2664F227B13E}" destId="{CA66FC0B-5EC9-46FD-9BD4-D2DE855F9E9F}" srcOrd="0" destOrd="0" presId="urn:microsoft.com/office/officeart/2008/layout/LinedList"/>
    <dgm:cxn modelId="{BD9ECE38-7B56-4C63-A89B-9ECDCBA1DD3C}" type="presOf" srcId="{FCB70DBA-83BC-49EA-9270-EE1BF3E439F4}" destId="{45608983-2A3C-464E-8E88-9CDE739C16E1}" srcOrd="0" destOrd="0" presId="urn:microsoft.com/office/officeart/2008/layout/LinedList"/>
    <dgm:cxn modelId="{4178F05E-D324-4F1E-84FC-580E3E8343F3}" type="presOf" srcId="{D65C602F-61C7-4DC8-A318-23DDA0D33EB7}" destId="{10EA68C8-4C2E-4A08-AE48-A68ABDB0E7A1}" srcOrd="0" destOrd="0" presId="urn:microsoft.com/office/officeart/2008/layout/LinedList"/>
    <dgm:cxn modelId="{6FC8E862-A9BB-4832-A28A-B3C538198F4D}" srcId="{402FA076-E7EE-4174-9127-2664F227B13E}" destId="{FCB70DBA-83BC-49EA-9270-EE1BF3E439F4}" srcOrd="0" destOrd="0" parTransId="{83DE127F-8875-4C4C-BAD0-E0320F1A609E}" sibTransId="{8409B0EC-D66E-4931-9B36-626F504BC492}"/>
    <dgm:cxn modelId="{EA1D2E67-59EB-4BD7-970E-3B2407863AFD}" type="presOf" srcId="{AEDC7898-2381-4BDD-91CC-A953D79AC2A8}" destId="{E1EA1A85-6EAE-4D4F-B7BE-F3FD3597DFF1}" srcOrd="0" destOrd="0" presId="urn:microsoft.com/office/officeart/2008/layout/LinedList"/>
    <dgm:cxn modelId="{484FBE4A-2930-4AFD-A983-D2BC9B6B2921}" type="presOf" srcId="{52158719-D159-4587-87D5-96EF63DD4E0E}" destId="{472D1895-F426-4563-A341-2989108E0918}" srcOrd="0" destOrd="0" presId="urn:microsoft.com/office/officeart/2008/layout/LinedList"/>
    <dgm:cxn modelId="{F3B76D96-C8D4-4C2B-BC41-269B27AB4697}" type="presOf" srcId="{86C969D0-4083-47AA-B2B1-0EE25F1F602E}" destId="{050339B3-FE9C-4379-B55F-B3964F87AE25}" srcOrd="0" destOrd="0" presId="urn:microsoft.com/office/officeart/2008/layout/LinedList"/>
    <dgm:cxn modelId="{B1591998-1DE5-4662-8968-7594C8778B0D}" srcId="{402FA076-E7EE-4174-9127-2664F227B13E}" destId="{52158719-D159-4587-87D5-96EF63DD4E0E}" srcOrd="3" destOrd="0" parTransId="{243F7150-DCC3-4EF1-B066-049D273FBBC3}" sibTransId="{D9620CA5-5D39-456C-9E78-94CA03BFB5FB}"/>
    <dgm:cxn modelId="{5A3954AF-868F-4190-8AB3-F98EB70A80A2}" srcId="{402FA076-E7EE-4174-9127-2664F227B13E}" destId="{D65C602F-61C7-4DC8-A318-23DDA0D33EB7}" srcOrd="5" destOrd="0" parTransId="{174AF058-FF13-4B9B-9F74-2A06E2EAEC22}" sibTransId="{ECC7BCB3-5A37-4BCB-81A1-B6217E38C30A}"/>
    <dgm:cxn modelId="{96490FB2-0236-451B-B29C-4ACF854152FD}" srcId="{402FA076-E7EE-4174-9127-2664F227B13E}" destId="{86C969D0-4083-47AA-B2B1-0EE25F1F602E}" srcOrd="2" destOrd="0" parTransId="{A2DB4AFD-8BEC-4380-8187-A1A07C9C517C}" sibTransId="{274849FE-F7E1-4471-971D-D1EF1DE76085}"/>
    <dgm:cxn modelId="{3EBEABB3-C9F6-48E5-A47E-3B4E478B7ED9}" srcId="{402FA076-E7EE-4174-9127-2664F227B13E}" destId="{AEDC7898-2381-4BDD-91CC-A953D79AC2A8}" srcOrd="1" destOrd="0" parTransId="{0244E891-E620-4C0B-A213-1C9AA919C809}" sibTransId="{DE2294E1-0986-45C3-90C1-B2E7B41C3A00}"/>
    <dgm:cxn modelId="{69268AD2-3FD5-44C7-A479-AE356884DCFA}" srcId="{402FA076-E7EE-4174-9127-2664F227B13E}" destId="{DD210AC9-25D4-4417-A7B3-0F1E7A9BB43F}" srcOrd="4" destOrd="0" parTransId="{B1F12A37-1635-4352-9DCD-0A34FC6BAC2C}" sibTransId="{7A94F62A-25AD-4A07-86E3-AEC3589784CE}"/>
    <dgm:cxn modelId="{8814F8D7-BC87-4911-BDF9-C8BDFDF3CC07}" type="presOf" srcId="{DD210AC9-25D4-4417-A7B3-0F1E7A9BB43F}" destId="{71BB346A-9063-4148-921A-CFAC107E8278}" srcOrd="0" destOrd="0" presId="urn:microsoft.com/office/officeart/2008/layout/LinedList"/>
    <dgm:cxn modelId="{70BEBC31-D98E-4566-89B2-16F3EABBB74E}" type="presParOf" srcId="{CA66FC0B-5EC9-46FD-9BD4-D2DE855F9E9F}" destId="{3F71B3AE-D428-4453-BCC9-687E54AFB595}" srcOrd="0" destOrd="0" presId="urn:microsoft.com/office/officeart/2008/layout/LinedList"/>
    <dgm:cxn modelId="{8D540A27-D658-41EB-B9AD-25C655DDD285}" type="presParOf" srcId="{CA66FC0B-5EC9-46FD-9BD4-D2DE855F9E9F}" destId="{0DF6946F-BF36-4BCE-933A-C8B31D6787B9}" srcOrd="1" destOrd="0" presId="urn:microsoft.com/office/officeart/2008/layout/LinedList"/>
    <dgm:cxn modelId="{C61904BA-F8D9-417C-A525-9EC7110C05C5}" type="presParOf" srcId="{0DF6946F-BF36-4BCE-933A-C8B31D6787B9}" destId="{45608983-2A3C-464E-8E88-9CDE739C16E1}" srcOrd="0" destOrd="0" presId="urn:microsoft.com/office/officeart/2008/layout/LinedList"/>
    <dgm:cxn modelId="{DE8FB918-0AC0-4193-8E2B-2DA81F1D1B9C}" type="presParOf" srcId="{0DF6946F-BF36-4BCE-933A-C8B31D6787B9}" destId="{96A3D39E-7168-41DE-AFFE-CEFDFE99F9D3}" srcOrd="1" destOrd="0" presId="urn:microsoft.com/office/officeart/2008/layout/LinedList"/>
    <dgm:cxn modelId="{02B7B55F-45A9-491D-9160-56DF95AE307B}" type="presParOf" srcId="{CA66FC0B-5EC9-46FD-9BD4-D2DE855F9E9F}" destId="{D3225FB0-E857-4587-ACFB-6B4BA459FFD4}" srcOrd="2" destOrd="0" presId="urn:microsoft.com/office/officeart/2008/layout/LinedList"/>
    <dgm:cxn modelId="{B2E6EAF3-B1AA-40D3-A84F-83D92D1BA571}" type="presParOf" srcId="{CA66FC0B-5EC9-46FD-9BD4-D2DE855F9E9F}" destId="{1A5E50F8-55EC-42F7-8B42-8676B7961422}" srcOrd="3" destOrd="0" presId="urn:microsoft.com/office/officeart/2008/layout/LinedList"/>
    <dgm:cxn modelId="{6B75C87F-BB57-4C87-8C1C-51EED577348F}" type="presParOf" srcId="{1A5E50F8-55EC-42F7-8B42-8676B7961422}" destId="{E1EA1A85-6EAE-4D4F-B7BE-F3FD3597DFF1}" srcOrd="0" destOrd="0" presId="urn:microsoft.com/office/officeart/2008/layout/LinedList"/>
    <dgm:cxn modelId="{8CB786D9-245C-4D91-9BDB-0DC10A8A7E23}" type="presParOf" srcId="{1A5E50F8-55EC-42F7-8B42-8676B7961422}" destId="{9704AA3D-1A68-4197-80CC-7407C12BE7F1}" srcOrd="1" destOrd="0" presId="urn:microsoft.com/office/officeart/2008/layout/LinedList"/>
    <dgm:cxn modelId="{ACEDC66D-83DF-4D65-BD4F-B174A547BEFE}" type="presParOf" srcId="{CA66FC0B-5EC9-46FD-9BD4-D2DE855F9E9F}" destId="{83C30FF5-A5EE-4399-935D-F7BB93F34817}" srcOrd="4" destOrd="0" presId="urn:microsoft.com/office/officeart/2008/layout/LinedList"/>
    <dgm:cxn modelId="{B061C424-C156-4154-95F1-D353D613497F}" type="presParOf" srcId="{CA66FC0B-5EC9-46FD-9BD4-D2DE855F9E9F}" destId="{2769EB03-6CB8-42AD-9C2C-0275B6E8B8F5}" srcOrd="5" destOrd="0" presId="urn:microsoft.com/office/officeart/2008/layout/LinedList"/>
    <dgm:cxn modelId="{EC44E94D-2783-457D-B62C-FF756F053ED7}" type="presParOf" srcId="{2769EB03-6CB8-42AD-9C2C-0275B6E8B8F5}" destId="{050339B3-FE9C-4379-B55F-B3964F87AE25}" srcOrd="0" destOrd="0" presId="urn:microsoft.com/office/officeart/2008/layout/LinedList"/>
    <dgm:cxn modelId="{FAD6A666-1D85-4EB6-837D-29CCDC5A06A9}" type="presParOf" srcId="{2769EB03-6CB8-42AD-9C2C-0275B6E8B8F5}" destId="{BF847357-2FE0-4E7B-9665-0D2E8D645EB5}" srcOrd="1" destOrd="0" presId="urn:microsoft.com/office/officeart/2008/layout/LinedList"/>
    <dgm:cxn modelId="{999BB61C-F151-4F27-810A-4F2A8E8E1E60}" type="presParOf" srcId="{CA66FC0B-5EC9-46FD-9BD4-D2DE855F9E9F}" destId="{B4116B71-374D-4752-A20D-5CB10B79C016}" srcOrd="6" destOrd="0" presId="urn:microsoft.com/office/officeart/2008/layout/LinedList"/>
    <dgm:cxn modelId="{9674E83A-5C2E-48A4-9FB6-CF68847C321A}" type="presParOf" srcId="{CA66FC0B-5EC9-46FD-9BD4-D2DE855F9E9F}" destId="{4B4F1E8E-4EE6-4420-8422-014B6D0B1062}" srcOrd="7" destOrd="0" presId="urn:microsoft.com/office/officeart/2008/layout/LinedList"/>
    <dgm:cxn modelId="{D6FA228D-700D-4C8A-96C9-EF5DD1083929}" type="presParOf" srcId="{4B4F1E8E-4EE6-4420-8422-014B6D0B1062}" destId="{472D1895-F426-4563-A341-2989108E0918}" srcOrd="0" destOrd="0" presId="urn:microsoft.com/office/officeart/2008/layout/LinedList"/>
    <dgm:cxn modelId="{0FFF436E-F4ED-4F05-BDDC-B95FC86D6B33}" type="presParOf" srcId="{4B4F1E8E-4EE6-4420-8422-014B6D0B1062}" destId="{2E9EAF8D-54AC-492D-97A3-CB78DC0BE6FF}" srcOrd="1" destOrd="0" presId="urn:microsoft.com/office/officeart/2008/layout/LinedList"/>
    <dgm:cxn modelId="{2E1E8083-84D1-4F05-99F2-181502A40DD7}" type="presParOf" srcId="{CA66FC0B-5EC9-46FD-9BD4-D2DE855F9E9F}" destId="{C13BABA0-BE77-4908-929F-3D4B074E7641}" srcOrd="8" destOrd="0" presId="urn:microsoft.com/office/officeart/2008/layout/LinedList"/>
    <dgm:cxn modelId="{2A97CA64-D0D3-4DDD-B4A9-4B834346B253}" type="presParOf" srcId="{CA66FC0B-5EC9-46FD-9BD4-D2DE855F9E9F}" destId="{425542F2-B1D4-4A70-B4A6-AFED23A99EA9}" srcOrd="9" destOrd="0" presId="urn:microsoft.com/office/officeart/2008/layout/LinedList"/>
    <dgm:cxn modelId="{806E7DE1-C125-48C7-97EE-05376CFF48EA}" type="presParOf" srcId="{425542F2-B1D4-4A70-B4A6-AFED23A99EA9}" destId="{71BB346A-9063-4148-921A-CFAC107E8278}" srcOrd="0" destOrd="0" presId="urn:microsoft.com/office/officeart/2008/layout/LinedList"/>
    <dgm:cxn modelId="{4EB1F260-9FB0-44A8-88A5-194BEBC94BB8}" type="presParOf" srcId="{425542F2-B1D4-4A70-B4A6-AFED23A99EA9}" destId="{6B35BA9F-4DC3-4DFB-8017-955FBC881730}" srcOrd="1" destOrd="0" presId="urn:microsoft.com/office/officeart/2008/layout/LinedList"/>
    <dgm:cxn modelId="{73F67AE0-45CB-4F8F-8295-3670934706FF}" type="presParOf" srcId="{CA66FC0B-5EC9-46FD-9BD4-D2DE855F9E9F}" destId="{310B1B0A-D337-4351-B093-487BADCC141B}" srcOrd="10" destOrd="0" presId="urn:microsoft.com/office/officeart/2008/layout/LinedList"/>
    <dgm:cxn modelId="{3A8A0483-F486-409E-8CBC-CC19C3C01C43}" type="presParOf" srcId="{CA66FC0B-5EC9-46FD-9BD4-D2DE855F9E9F}" destId="{22A85CE1-A3BC-4570-9FE2-0830FFE8F5C9}" srcOrd="11" destOrd="0" presId="urn:microsoft.com/office/officeart/2008/layout/LinedList"/>
    <dgm:cxn modelId="{9B647AEB-8343-45B4-9E1A-BB90D1FF9725}" type="presParOf" srcId="{22A85CE1-A3BC-4570-9FE2-0830FFE8F5C9}" destId="{10EA68C8-4C2E-4A08-AE48-A68ABDB0E7A1}" srcOrd="0" destOrd="0" presId="urn:microsoft.com/office/officeart/2008/layout/LinedList"/>
    <dgm:cxn modelId="{1E4AB57A-5756-4EFA-8D20-8051ADC47795}" type="presParOf" srcId="{22A85CE1-A3BC-4570-9FE2-0830FFE8F5C9}" destId="{858DFBAA-429A-48D5-9B31-24B029EF8219}"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02FA076-E7EE-4174-9127-2664F227B13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CB70DBA-83BC-49EA-9270-EE1BF3E439F4}">
      <dgm:prSet custT="1"/>
      <dgm:spPr/>
      <dgm:t>
        <a:bodyPr/>
        <a:lstStyle/>
        <a:p>
          <a:r>
            <a:rPr lang="en-US" sz="2400" err="1"/>
            <a:t>ValidateRange</a:t>
          </a:r>
          <a:r>
            <a:rPr lang="en-US" sz="2400"/>
            <a:t>()</a:t>
          </a:r>
        </a:p>
      </dgm:t>
    </dgm:pt>
    <dgm:pt modelId="{83DE127F-8875-4C4C-BAD0-E0320F1A609E}" type="parTrans" cxnId="{6FC8E862-A9BB-4832-A28A-B3C538198F4D}">
      <dgm:prSet/>
      <dgm:spPr/>
      <dgm:t>
        <a:bodyPr/>
        <a:lstStyle/>
        <a:p>
          <a:endParaRPr lang="en-US" sz="2400"/>
        </a:p>
      </dgm:t>
    </dgm:pt>
    <dgm:pt modelId="{8409B0EC-D66E-4931-9B36-626F504BC492}" type="sibTrans" cxnId="{6FC8E862-A9BB-4832-A28A-B3C538198F4D}">
      <dgm:prSet/>
      <dgm:spPr/>
      <dgm:t>
        <a:bodyPr/>
        <a:lstStyle/>
        <a:p>
          <a:endParaRPr lang="en-US" sz="2400"/>
        </a:p>
      </dgm:t>
    </dgm:pt>
    <dgm:pt modelId="{55CB83E2-06E6-47C3-8B70-BEA877508F6B}">
      <dgm:prSet custT="1"/>
      <dgm:spPr/>
      <dgm:t>
        <a:bodyPr/>
        <a:lstStyle/>
        <a:p>
          <a:r>
            <a:rPr lang="en-US" sz="2400" err="1"/>
            <a:t>ValidateScript</a:t>
          </a:r>
          <a:r>
            <a:rPr lang="en-US" sz="2400"/>
            <a:t>()</a:t>
          </a:r>
        </a:p>
      </dgm:t>
    </dgm:pt>
    <dgm:pt modelId="{A684ABD8-926A-48C8-A346-0634F44A150F}" type="parTrans" cxnId="{FAED54B5-E747-44AB-8C11-A5A6BE8AE473}">
      <dgm:prSet/>
      <dgm:spPr/>
      <dgm:t>
        <a:bodyPr/>
        <a:lstStyle/>
        <a:p>
          <a:endParaRPr lang="en-US" sz="2400"/>
        </a:p>
      </dgm:t>
    </dgm:pt>
    <dgm:pt modelId="{A357E395-B751-4C71-88C4-98E5E86D003B}" type="sibTrans" cxnId="{FAED54B5-E747-44AB-8C11-A5A6BE8AE473}">
      <dgm:prSet/>
      <dgm:spPr/>
      <dgm:t>
        <a:bodyPr/>
        <a:lstStyle/>
        <a:p>
          <a:endParaRPr lang="en-US" sz="2400"/>
        </a:p>
      </dgm:t>
    </dgm:pt>
    <dgm:pt modelId="{16C9883A-C439-4C1E-96C4-246CA72BAAE2}">
      <dgm:prSet custT="1"/>
      <dgm:spPr/>
      <dgm:t>
        <a:bodyPr/>
        <a:lstStyle/>
        <a:p>
          <a:r>
            <a:rPr lang="en-US" sz="2400" err="1"/>
            <a:t>ValidateSet</a:t>
          </a:r>
          <a:r>
            <a:rPr lang="en-US" sz="2400"/>
            <a:t>()</a:t>
          </a:r>
        </a:p>
      </dgm:t>
    </dgm:pt>
    <dgm:pt modelId="{3D74BE4E-1F36-4493-9F9C-B5DDBDE0ABDB}" type="parTrans" cxnId="{FA09562E-2673-45CD-B94E-88527CFF2FA4}">
      <dgm:prSet/>
      <dgm:spPr/>
      <dgm:t>
        <a:bodyPr/>
        <a:lstStyle/>
        <a:p>
          <a:endParaRPr lang="en-US" sz="2400"/>
        </a:p>
      </dgm:t>
    </dgm:pt>
    <dgm:pt modelId="{64B67076-97B1-43B6-A26C-C4B640F3918C}" type="sibTrans" cxnId="{FA09562E-2673-45CD-B94E-88527CFF2FA4}">
      <dgm:prSet/>
      <dgm:spPr/>
      <dgm:t>
        <a:bodyPr/>
        <a:lstStyle/>
        <a:p>
          <a:endParaRPr lang="en-US" sz="2400"/>
        </a:p>
      </dgm:t>
    </dgm:pt>
    <dgm:pt modelId="{4B03C48E-B203-458A-AA38-12500F80055A}">
      <dgm:prSet custT="1"/>
      <dgm:spPr/>
      <dgm:t>
        <a:bodyPr/>
        <a:lstStyle/>
        <a:p>
          <a:r>
            <a:rPr lang="en-US" sz="2400" err="1"/>
            <a:t>ValidateNotNull</a:t>
          </a:r>
          <a:r>
            <a:rPr lang="en-US" sz="2400"/>
            <a:t>()</a:t>
          </a:r>
        </a:p>
      </dgm:t>
    </dgm:pt>
    <dgm:pt modelId="{1972247A-F12B-44F4-9747-8C59168A3144}" type="parTrans" cxnId="{6593DB95-E5E2-478F-9D17-924A6A6DF7E7}">
      <dgm:prSet/>
      <dgm:spPr/>
      <dgm:t>
        <a:bodyPr/>
        <a:lstStyle/>
        <a:p>
          <a:endParaRPr lang="en-US" sz="2400"/>
        </a:p>
      </dgm:t>
    </dgm:pt>
    <dgm:pt modelId="{2CCE3D3A-C5A6-414A-AA1A-97CB1398F3D5}" type="sibTrans" cxnId="{6593DB95-E5E2-478F-9D17-924A6A6DF7E7}">
      <dgm:prSet/>
      <dgm:spPr/>
      <dgm:t>
        <a:bodyPr/>
        <a:lstStyle/>
        <a:p>
          <a:endParaRPr lang="en-US" sz="2400"/>
        </a:p>
      </dgm:t>
    </dgm:pt>
    <dgm:pt modelId="{3FD91885-4BEF-4D4B-9737-BB6E03444CC2}">
      <dgm:prSet custT="1"/>
      <dgm:spPr/>
      <dgm:t>
        <a:bodyPr/>
        <a:lstStyle/>
        <a:p>
          <a:r>
            <a:rPr lang="en-US" sz="2400" err="1"/>
            <a:t>ValidateNotNullOrEmpty</a:t>
          </a:r>
          <a:r>
            <a:rPr lang="en-US" sz="2400"/>
            <a:t>()</a:t>
          </a:r>
        </a:p>
      </dgm:t>
    </dgm:pt>
    <dgm:pt modelId="{C10CF708-161F-486A-B076-CAE6DDACDCCE}" type="parTrans" cxnId="{0E9D8074-938F-4EEE-887E-6F9D6CE5B50E}">
      <dgm:prSet/>
      <dgm:spPr/>
      <dgm:t>
        <a:bodyPr/>
        <a:lstStyle/>
        <a:p>
          <a:endParaRPr lang="en-US" sz="2400"/>
        </a:p>
      </dgm:t>
    </dgm:pt>
    <dgm:pt modelId="{A37FC5BD-D7D2-4B12-A7E8-6D98F9E97922}" type="sibTrans" cxnId="{0E9D8074-938F-4EEE-887E-6F9D6CE5B50E}">
      <dgm:prSet/>
      <dgm:spPr/>
      <dgm:t>
        <a:bodyPr/>
        <a:lstStyle/>
        <a:p>
          <a:endParaRPr lang="en-US" sz="2400"/>
        </a:p>
      </dgm:t>
    </dgm:pt>
    <dgm:pt modelId="{CA66FC0B-5EC9-46FD-9BD4-D2DE855F9E9F}" type="pres">
      <dgm:prSet presAssocID="{402FA076-E7EE-4174-9127-2664F227B13E}" presName="vert0" presStyleCnt="0">
        <dgm:presLayoutVars>
          <dgm:dir/>
          <dgm:animOne val="branch"/>
          <dgm:animLvl val="lvl"/>
        </dgm:presLayoutVars>
      </dgm:prSet>
      <dgm:spPr/>
    </dgm:pt>
    <dgm:pt modelId="{3F71B3AE-D428-4453-BCC9-687E54AFB595}" type="pres">
      <dgm:prSet presAssocID="{FCB70DBA-83BC-49EA-9270-EE1BF3E439F4}" presName="thickLine" presStyleLbl="alignNode1" presStyleIdx="0" presStyleCnt="5"/>
      <dgm:spPr/>
    </dgm:pt>
    <dgm:pt modelId="{0DF6946F-BF36-4BCE-933A-C8B31D6787B9}" type="pres">
      <dgm:prSet presAssocID="{FCB70DBA-83BC-49EA-9270-EE1BF3E439F4}" presName="horz1" presStyleCnt="0"/>
      <dgm:spPr/>
    </dgm:pt>
    <dgm:pt modelId="{45608983-2A3C-464E-8E88-9CDE739C16E1}" type="pres">
      <dgm:prSet presAssocID="{FCB70DBA-83BC-49EA-9270-EE1BF3E439F4}" presName="tx1" presStyleLbl="revTx" presStyleIdx="0" presStyleCnt="5"/>
      <dgm:spPr/>
    </dgm:pt>
    <dgm:pt modelId="{96A3D39E-7168-41DE-AFFE-CEFDFE99F9D3}" type="pres">
      <dgm:prSet presAssocID="{FCB70DBA-83BC-49EA-9270-EE1BF3E439F4}" presName="vert1" presStyleCnt="0"/>
      <dgm:spPr/>
    </dgm:pt>
    <dgm:pt modelId="{7378DB49-F068-46BA-8218-80B72C844AE2}" type="pres">
      <dgm:prSet presAssocID="{55CB83E2-06E6-47C3-8B70-BEA877508F6B}" presName="thickLine" presStyleLbl="alignNode1" presStyleIdx="1" presStyleCnt="5"/>
      <dgm:spPr/>
    </dgm:pt>
    <dgm:pt modelId="{95A88922-9D66-4DA1-860C-BF5F11F77084}" type="pres">
      <dgm:prSet presAssocID="{55CB83E2-06E6-47C3-8B70-BEA877508F6B}" presName="horz1" presStyleCnt="0"/>
      <dgm:spPr/>
    </dgm:pt>
    <dgm:pt modelId="{8D043F36-44E5-4DC5-BEFB-9DE24290D02D}" type="pres">
      <dgm:prSet presAssocID="{55CB83E2-06E6-47C3-8B70-BEA877508F6B}" presName="tx1" presStyleLbl="revTx" presStyleIdx="1" presStyleCnt="5"/>
      <dgm:spPr/>
    </dgm:pt>
    <dgm:pt modelId="{CC9D8CD2-E0A3-4958-AB87-2107F81FF6BD}" type="pres">
      <dgm:prSet presAssocID="{55CB83E2-06E6-47C3-8B70-BEA877508F6B}" presName="vert1" presStyleCnt="0"/>
      <dgm:spPr/>
    </dgm:pt>
    <dgm:pt modelId="{47588B18-AFE3-4A03-9416-7720DC4ED892}" type="pres">
      <dgm:prSet presAssocID="{16C9883A-C439-4C1E-96C4-246CA72BAAE2}" presName="thickLine" presStyleLbl="alignNode1" presStyleIdx="2" presStyleCnt="5"/>
      <dgm:spPr/>
    </dgm:pt>
    <dgm:pt modelId="{FA71EFA2-F686-47FF-BE92-BA17A363114F}" type="pres">
      <dgm:prSet presAssocID="{16C9883A-C439-4C1E-96C4-246CA72BAAE2}" presName="horz1" presStyleCnt="0"/>
      <dgm:spPr/>
    </dgm:pt>
    <dgm:pt modelId="{5774C209-B56C-4A21-93DC-13A26BCC0E8B}" type="pres">
      <dgm:prSet presAssocID="{16C9883A-C439-4C1E-96C4-246CA72BAAE2}" presName="tx1" presStyleLbl="revTx" presStyleIdx="2" presStyleCnt="5"/>
      <dgm:spPr/>
    </dgm:pt>
    <dgm:pt modelId="{822D4A7D-AFE4-4ECE-AB8E-8719023B40B3}" type="pres">
      <dgm:prSet presAssocID="{16C9883A-C439-4C1E-96C4-246CA72BAAE2}" presName="vert1" presStyleCnt="0"/>
      <dgm:spPr/>
    </dgm:pt>
    <dgm:pt modelId="{B0786EC5-0172-4A90-91F0-2CD48343CC2C}" type="pres">
      <dgm:prSet presAssocID="{4B03C48E-B203-458A-AA38-12500F80055A}" presName="thickLine" presStyleLbl="alignNode1" presStyleIdx="3" presStyleCnt="5"/>
      <dgm:spPr/>
    </dgm:pt>
    <dgm:pt modelId="{04E08683-96EB-4067-A102-5EA48DA514BC}" type="pres">
      <dgm:prSet presAssocID="{4B03C48E-B203-458A-AA38-12500F80055A}" presName="horz1" presStyleCnt="0"/>
      <dgm:spPr/>
    </dgm:pt>
    <dgm:pt modelId="{936DF2E1-5827-4B54-88A8-57A8333A80ED}" type="pres">
      <dgm:prSet presAssocID="{4B03C48E-B203-458A-AA38-12500F80055A}" presName="tx1" presStyleLbl="revTx" presStyleIdx="3" presStyleCnt="5"/>
      <dgm:spPr/>
    </dgm:pt>
    <dgm:pt modelId="{A3B41A98-2CE3-429C-82D8-C5E2712D4AAF}" type="pres">
      <dgm:prSet presAssocID="{4B03C48E-B203-458A-AA38-12500F80055A}" presName="vert1" presStyleCnt="0"/>
      <dgm:spPr/>
    </dgm:pt>
    <dgm:pt modelId="{D69C07B1-89BA-40B1-ABC2-3F15D4481D4B}" type="pres">
      <dgm:prSet presAssocID="{3FD91885-4BEF-4D4B-9737-BB6E03444CC2}" presName="thickLine" presStyleLbl="alignNode1" presStyleIdx="4" presStyleCnt="5"/>
      <dgm:spPr/>
    </dgm:pt>
    <dgm:pt modelId="{3864F674-8CEE-4A71-A843-1DC0A5680B16}" type="pres">
      <dgm:prSet presAssocID="{3FD91885-4BEF-4D4B-9737-BB6E03444CC2}" presName="horz1" presStyleCnt="0"/>
      <dgm:spPr/>
    </dgm:pt>
    <dgm:pt modelId="{AF0A5AD2-5001-441D-923F-2658220090EF}" type="pres">
      <dgm:prSet presAssocID="{3FD91885-4BEF-4D4B-9737-BB6E03444CC2}" presName="tx1" presStyleLbl="revTx" presStyleIdx="4" presStyleCnt="5"/>
      <dgm:spPr/>
    </dgm:pt>
    <dgm:pt modelId="{A244AA3A-F7BF-48F3-A2FB-79B29842C5F5}" type="pres">
      <dgm:prSet presAssocID="{3FD91885-4BEF-4D4B-9737-BB6E03444CC2}" presName="vert1" presStyleCnt="0"/>
      <dgm:spPr/>
    </dgm:pt>
  </dgm:ptLst>
  <dgm:cxnLst>
    <dgm:cxn modelId="{589CE008-6746-4859-B9F4-3926DAC85104}" type="presOf" srcId="{4B03C48E-B203-458A-AA38-12500F80055A}" destId="{936DF2E1-5827-4B54-88A8-57A8333A80ED}" srcOrd="0" destOrd="0" presId="urn:microsoft.com/office/officeart/2008/layout/LinedList"/>
    <dgm:cxn modelId="{8396081B-3B74-4548-AF67-C135734012E6}" type="presOf" srcId="{FCB70DBA-83BC-49EA-9270-EE1BF3E439F4}" destId="{45608983-2A3C-464E-8E88-9CDE739C16E1}" srcOrd="0" destOrd="0" presId="urn:microsoft.com/office/officeart/2008/layout/LinedList"/>
    <dgm:cxn modelId="{FA09562E-2673-45CD-B94E-88527CFF2FA4}" srcId="{402FA076-E7EE-4174-9127-2664F227B13E}" destId="{16C9883A-C439-4C1E-96C4-246CA72BAAE2}" srcOrd="2" destOrd="0" parTransId="{3D74BE4E-1F36-4493-9F9C-B5DDBDE0ABDB}" sibTransId="{64B67076-97B1-43B6-A26C-C4B640F3918C}"/>
    <dgm:cxn modelId="{B7813E32-BE96-4170-A996-88DC788268D1}" type="presOf" srcId="{3FD91885-4BEF-4D4B-9737-BB6E03444CC2}" destId="{AF0A5AD2-5001-441D-923F-2658220090EF}" srcOrd="0" destOrd="0" presId="urn:microsoft.com/office/officeart/2008/layout/LinedList"/>
    <dgm:cxn modelId="{2C5A1135-9780-4060-B11F-01B17A620312}" type="presOf" srcId="{402FA076-E7EE-4174-9127-2664F227B13E}" destId="{CA66FC0B-5EC9-46FD-9BD4-D2DE855F9E9F}" srcOrd="0" destOrd="0" presId="urn:microsoft.com/office/officeart/2008/layout/LinedList"/>
    <dgm:cxn modelId="{6FC8E862-A9BB-4832-A28A-B3C538198F4D}" srcId="{402FA076-E7EE-4174-9127-2664F227B13E}" destId="{FCB70DBA-83BC-49EA-9270-EE1BF3E439F4}" srcOrd="0" destOrd="0" parTransId="{83DE127F-8875-4C4C-BAD0-E0320F1A609E}" sibTransId="{8409B0EC-D66E-4931-9B36-626F504BC492}"/>
    <dgm:cxn modelId="{0E9D8074-938F-4EEE-887E-6F9D6CE5B50E}" srcId="{402FA076-E7EE-4174-9127-2664F227B13E}" destId="{3FD91885-4BEF-4D4B-9737-BB6E03444CC2}" srcOrd="4" destOrd="0" parTransId="{C10CF708-161F-486A-B076-CAE6DDACDCCE}" sibTransId="{A37FC5BD-D7D2-4B12-A7E8-6D98F9E97922}"/>
    <dgm:cxn modelId="{9F38BD7A-8E60-40B8-9D99-CEB92BB83D03}" type="presOf" srcId="{55CB83E2-06E6-47C3-8B70-BEA877508F6B}" destId="{8D043F36-44E5-4DC5-BEFB-9DE24290D02D}" srcOrd="0" destOrd="0" presId="urn:microsoft.com/office/officeart/2008/layout/LinedList"/>
    <dgm:cxn modelId="{6593DB95-E5E2-478F-9D17-924A6A6DF7E7}" srcId="{402FA076-E7EE-4174-9127-2664F227B13E}" destId="{4B03C48E-B203-458A-AA38-12500F80055A}" srcOrd="3" destOrd="0" parTransId="{1972247A-F12B-44F4-9747-8C59168A3144}" sibTransId="{2CCE3D3A-C5A6-414A-AA1A-97CB1398F3D5}"/>
    <dgm:cxn modelId="{7949C4B2-B6CD-4C9D-AF75-0A93563AD5A6}" type="presOf" srcId="{16C9883A-C439-4C1E-96C4-246CA72BAAE2}" destId="{5774C209-B56C-4A21-93DC-13A26BCC0E8B}" srcOrd="0" destOrd="0" presId="urn:microsoft.com/office/officeart/2008/layout/LinedList"/>
    <dgm:cxn modelId="{FAED54B5-E747-44AB-8C11-A5A6BE8AE473}" srcId="{402FA076-E7EE-4174-9127-2664F227B13E}" destId="{55CB83E2-06E6-47C3-8B70-BEA877508F6B}" srcOrd="1" destOrd="0" parTransId="{A684ABD8-926A-48C8-A346-0634F44A150F}" sibTransId="{A357E395-B751-4C71-88C4-98E5E86D003B}"/>
    <dgm:cxn modelId="{302BF0C0-1625-4245-9731-424D18FBE011}" type="presParOf" srcId="{CA66FC0B-5EC9-46FD-9BD4-D2DE855F9E9F}" destId="{3F71B3AE-D428-4453-BCC9-687E54AFB595}" srcOrd="0" destOrd="0" presId="urn:microsoft.com/office/officeart/2008/layout/LinedList"/>
    <dgm:cxn modelId="{3DA0F129-6334-4540-A4CE-F9D5626FA30C}" type="presParOf" srcId="{CA66FC0B-5EC9-46FD-9BD4-D2DE855F9E9F}" destId="{0DF6946F-BF36-4BCE-933A-C8B31D6787B9}" srcOrd="1" destOrd="0" presId="urn:microsoft.com/office/officeart/2008/layout/LinedList"/>
    <dgm:cxn modelId="{EB75168E-B2D7-4A23-B666-53A2501E9A68}" type="presParOf" srcId="{0DF6946F-BF36-4BCE-933A-C8B31D6787B9}" destId="{45608983-2A3C-464E-8E88-9CDE739C16E1}" srcOrd="0" destOrd="0" presId="urn:microsoft.com/office/officeart/2008/layout/LinedList"/>
    <dgm:cxn modelId="{45D00BFD-35BE-48ED-B475-0CB5413A2164}" type="presParOf" srcId="{0DF6946F-BF36-4BCE-933A-C8B31D6787B9}" destId="{96A3D39E-7168-41DE-AFFE-CEFDFE99F9D3}" srcOrd="1" destOrd="0" presId="urn:microsoft.com/office/officeart/2008/layout/LinedList"/>
    <dgm:cxn modelId="{024F773D-55B2-480D-8A76-CEB72C1BDDD8}" type="presParOf" srcId="{CA66FC0B-5EC9-46FD-9BD4-D2DE855F9E9F}" destId="{7378DB49-F068-46BA-8218-80B72C844AE2}" srcOrd="2" destOrd="0" presId="urn:microsoft.com/office/officeart/2008/layout/LinedList"/>
    <dgm:cxn modelId="{793AD593-FA8E-432D-9551-810E369AFAB7}" type="presParOf" srcId="{CA66FC0B-5EC9-46FD-9BD4-D2DE855F9E9F}" destId="{95A88922-9D66-4DA1-860C-BF5F11F77084}" srcOrd="3" destOrd="0" presId="urn:microsoft.com/office/officeart/2008/layout/LinedList"/>
    <dgm:cxn modelId="{6FCA80C2-5189-436C-AD15-1C95ECB79C32}" type="presParOf" srcId="{95A88922-9D66-4DA1-860C-BF5F11F77084}" destId="{8D043F36-44E5-4DC5-BEFB-9DE24290D02D}" srcOrd="0" destOrd="0" presId="urn:microsoft.com/office/officeart/2008/layout/LinedList"/>
    <dgm:cxn modelId="{49D75968-830E-435A-9659-62504341DE80}" type="presParOf" srcId="{95A88922-9D66-4DA1-860C-BF5F11F77084}" destId="{CC9D8CD2-E0A3-4958-AB87-2107F81FF6BD}" srcOrd="1" destOrd="0" presId="urn:microsoft.com/office/officeart/2008/layout/LinedList"/>
    <dgm:cxn modelId="{870FA782-D92F-4CD9-B1D5-EBB6996529AE}" type="presParOf" srcId="{CA66FC0B-5EC9-46FD-9BD4-D2DE855F9E9F}" destId="{47588B18-AFE3-4A03-9416-7720DC4ED892}" srcOrd="4" destOrd="0" presId="urn:microsoft.com/office/officeart/2008/layout/LinedList"/>
    <dgm:cxn modelId="{BD87AF99-2433-48C6-A7B0-1656B62C26C3}" type="presParOf" srcId="{CA66FC0B-5EC9-46FD-9BD4-D2DE855F9E9F}" destId="{FA71EFA2-F686-47FF-BE92-BA17A363114F}" srcOrd="5" destOrd="0" presId="urn:microsoft.com/office/officeart/2008/layout/LinedList"/>
    <dgm:cxn modelId="{65249A3F-36A8-410B-AA75-B7CD67495401}" type="presParOf" srcId="{FA71EFA2-F686-47FF-BE92-BA17A363114F}" destId="{5774C209-B56C-4A21-93DC-13A26BCC0E8B}" srcOrd="0" destOrd="0" presId="urn:microsoft.com/office/officeart/2008/layout/LinedList"/>
    <dgm:cxn modelId="{7BC3DC27-AD41-4411-B157-345C04664508}" type="presParOf" srcId="{FA71EFA2-F686-47FF-BE92-BA17A363114F}" destId="{822D4A7D-AFE4-4ECE-AB8E-8719023B40B3}" srcOrd="1" destOrd="0" presId="urn:microsoft.com/office/officeart/2008/layout/LinedList"/>
    <dgm:cxn modelId="{47B618ED-D08C-499E-B916-F7C86FD0CED0}" type="presParOf" srcId="{CA66FC0B-5EC9-46FD-9BD4-D2DE855F9E9F}" destId="{B0786EC5-0172-4A90-91F0-2CD48343CC2C}" srcOrd="6" destOrd="0" presId="urn:microsoft.com/office/officeart/2008/layout/LinedList"/>
    <dgm:cxn modelId="{C2370402-D963-4DE3-8070-553D9E724B5D}" type="presParOf" srcId="{CA66FC0B-5EC9-46FD-9BD4-D2DE855F9E9F}" destId="{04E08683-96EB-4067-A102-5EA48DA514BC}" srcOrd="7" destOrd="0" presId="urn:microsoft.com/office/officeart/2008/layout/LinedList"/>
    <dgm:cxn modelId="{97459AC4-4A65-441E-B289-38422CD24D1C}" type="presParOf" srcId="{04E08683-96EB-4067-A102-5EA48DA514BC}" destId="{936DF2E1-5827-4B54-88A8-57A8333A80ED}" srcOrd="0" destOrd="0" presId="urn:microsoft.com/office/officeart/2008/layout/LinedList"/>
    <dgm:cxn modelId="{E01C75CA-B6B5-4157-85E2-F30DA24191E5}" type="presParOf" srcId="{04E08683-96EB-4067-A102-5EA48DA514BC}" destId="{A3B41A98-2CE3-429C-82D8-C5E2712D4AAF}" srcOrd="1" destOrd="0" presId="urn:microsoft.com/office/officeart/2008/layout/LinedList"/>
    <dgm:cxn modelId="{E8FA8A4E-FBCF-49DA-AFC4-E1CDF73C21E3}" type="presParOf" srcId="{CA66FC0B-5EC9-46FD-9BD4-D2DE855F9E9F}" destId="{D69C07B1-89BA-40B1-ABC2-3F15D4481D4B}" srcOrd="8" destOrd="0" presId="urn:microsoft.com/office/officeart/2008/layout/LinedList"/>
    <dgm:cxn modelId="{721735FD-CA0D-4C16-AE9C-F9ADB231D703}" type="presParOf" srcId="{CA66FC0B-5EC9-46FD-9BD4-D2DE855F9E9F}" destId="{3864F674-8CEE-4A71-A843-1DC0A5680B16}" srcOrd="9" destOrd="0" presId="urn:microsoft.com/office/officeart/2008/layout/LinedList"/>
    <dgm:cxn modelId="{0C8B74D2-D124-41DF-B687-7B7710948412}" type="presParOf" srcId="{3864F674-8CEE-4A71-A843-1DC0A5680B16}" destId="{AF0A5AD2-5001-441D-923F-2658220090EF}" srcOrd="0" destOrd="0" presId="urn:microsoft.com/office/officeart/2008/layout/LinedList"/>
    <dgm:cxn modelId="{2BDB1DD9-D87A-4B1E-ACCF-DF5CDFDA20C4}" type="presParOf" srcId="{3864F674-8CEE-4A71-A843-1DC0A5680B16}" destId="{A244AA3A-F7BF-48F3-A2FB-79B29842C5F5}" srcOrd="1" destOrd="0" presId="urn:microsoft.com/office/officeart/2008/layout/LinedList"/>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DA8F42D-82A9-4015-AA6F-3CC39AC68F9A}"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33EDE0E6-1B1A-409C-A9F2-3F4FB7E06A34}">
      <dgm:prSet custT="1"/>
      <dgm:spPr/>
      <dgm:t>
        <a:bodyPr/>
        <a:lstStyle/>
        <a:p>
          <a:r>
            <a:rPr lang="en-US" sz="2800" baseline="0">
              <a:latin typeface="+mn-lt"/>
            </a:rPr>
            <a:t>Specifies a set of </a:t>
          </a:r>
          <a:r>
            <a:rPr lang="en-US" sz="2800" b="1" baseline="0">
              <a:latin typeface="+mn-lt"/>
            </a:rPr>
            <a:t>valid values </a:t>
          </a:r>
          <a:r>
            <a:rPr lang="en-US" sz="2800" baseline="0">
              <a:latin typeface="+mn-lt"/>
            </a:rPr>
            <a:t>for a parameter or variable</a:t>
          </a:r>
          <a:endParaRPr lang="en-US" sz="2800">
            <a:latin typeface="+mn-lt"/>
          </a:endParaRPr>
        </a:p>
      </dgm:t>
    </dgm:pt>
    <dgm:pt modelId="{5B61FC0A-5AF5-4511-9AF2-E08F51B776D7}" type="parTrans" cxnId="{5BCD9ED3-E9F3-4F88-9CB7-09956BA3590E}">
      <dgm:prSet/>
      <dgm:spPr/>
      <dgm:t>
        <a:bodyPr/>
        <a:lstStyle/>
        <a:p>
          <a:endParaRPr lang="en-US" sz="2800">
            <a:latin typeface="+mn-lt"/>
          </a:endParaRPr>
        </a:p>
      </dgm:t>
    </dgm:pt>
    <dgm:pt modelId="{838A0832-ECD4-4158-896A-F20F4254A4A5}" type="sibTrans" cxnId="{5BCD9ED3-E9F3-4F88-9CB7-09956BA3590E}">
      <dgm:prSet/>
      <dgm:spPr/>
      <dgm:t>
        <a:bodyPr/>
        <a:lstStyle/>
        <a:p>
          <a:endParaRPr lang="en-US" sz="2800">
            <a:latin typeface="+mn-lt"/>
          </a:endParaRPr>
        </a:p>
      </dgm:t>
    </dgm:pt>
    <dgm:pt modelId="{A8AD82CB-4ACF-4197-AF42-37E7EDEBBA84}">
      <dgm:prSet custT="1"/>
      <dgm:spPr/>
      <dgm:t>
        <a:bodyPr/>
        <a:lstStyle/>
        <a:p>
          <a:r>
            <a:rPr lang="en-US" sz="2800" baseline="0">
              <a:latin typeface="+mn-lt"/>
            </a:rPr>
            <a:t>PowerShell generates an </a:t>
          </a:r>
          <a:r>
            <a:rPr lang="en-US" sz="2800" b="1" baseline="0">
              <a:latin typeface="+mn-lt"/>
            </a:rPr>
            <a:t>error</a:t>
          </a:r>
          <a:r>
            <a:rPr lang="en-US" sz="2800" baseline="0">
              <a:latin typeface="+mn-lt"/>
            </a:rPr>
            <a:t> if a value does not exist in the set</a:t>
          </a:r>
          <a:endParaRPr lang="en-US" sz="2800">
            <a:latin typeface="+mn-lt"/>
          </a:endParaRPr>
        </a:p>
      </dgm:t>
    </dgm:pt>
    <dgm:pt modelId="{FBC04AA5-BA59-4BD8-A7FD-777A2E67C91C}" type="parTrans" cxnId="{18237523-5F06-4205-A7C2-D58740CCB254}">
      <dgm:prSet/>
      <dgm:spPr/>
      <dgm:t>
        <a:bodyPr/>
        <a:lstStyle/>
        <a:p>
          <a:endParaRPr lang="en-US" sz="2800">
            <a:latin typeface="+mn-lt"/>
          </a:endParaRPr>
        </a:p>
      </dgm:t>
    </dgm:pt>
    <dgm:pt modelId="{EABAE1E0-FFC4-47DF-904A-35450B3B5CCC}" type="sibTrans" cxnId="{18237523-5F06-4205-A7C2-D58740CCB254}">
      <dgm:prSet/>
      <dgm:spPr/>
      <dgm:t>
        <a:bodyPr/>
        <a:lstStyle/>
        <a:p>
          <a:endParaRPr lang="en-US" sz="2800">
            <a:latin typeface="+mn-lt"/>
          </a:endParaRPr>
        </a:p>
      </dgm:t>
    </dgm:pt>
    <dgm:pt modelId="{781CA939-C620-4977-9D52-681C01228E37}">
      <dgm:prSet custT="1"/>
      <dgm:spPr/>
      <dgm:t>
        <a:bodyPr/>
        <a:lstStyle/>
        <a:p>
          <a:r>
            <a:rPr lang="en-US" sz="2800" b="0" kern="1200" baseline="0">
              <a:latin typeface="+mn-lt"/>
              <a:ea typeface="+mn-ea"/>
              <a:cs typeface="+mn-cs"/>
            </a:rPr>
            <a:t>IntelliSense</a:t>
          </a:r>
          <a:r>
            <a:rPr lang="en-US" sz="2800" kern="1200" baseline="0">
              <a:latin typeface="+mn-lt"/>
              <a:ea typeface="+mn-ea"/>
              <a:cs typeface="+mn-cs"/>
            </a:rPr>
            <a:t> </a:t>
          </a:r>
          <a:r>
            <a:rPr lang="en-US" sz="2800" b="1" kern="1200" baseline="0">
              <a:latin typeface="+mn-lt"/>
              <a:ea typeface="+mn-ea"/>
              <a:cs typeface="+mn-cs"/>
            </a:rPr>
            <a:t>suggests</a:t>
          </a:r>
          <a:r>
            <a:rPr lang="en-US" sz="2800" kern="1200" baseline="0">
              <a:latin typeface="+mn-lt"/>
              <a:ea typeface="+mn-ea"/>
              <a:cs typeface="+mn-cs"/>
            </a:rPr>
            <a:t> accepted values</a:t>
          </a:r>
        </a:p>
      </dgm:t>
    </dgm:pt>
    <dgm:pt modelId="{68E4ACA0-512C-4C77-ADB3-6198CC498FAE}" type="parTrans" cxnId="{0088E541-892C-45A6-889B-2E9D6C601378}">
      <dgm:prSet/>
      <dgm:spPr/>
      <dgm:t>
        <a:bodyPr/>
        <a:lstStyle/>
        <a:p>
          <a:endParaRPr lang="en-US" sz="2800">
            <a:latin typeface="+mn-lt"/>
          </a:endParaRPr>
        </a:p>
      </dgm:t>
    </dgm:pt>
    <dgm:pt modelId="{34207C62-0DA1-4DE9-B0E6-E3E725CACDEE}" type="sibTrans" cxnId="{0088E541-892C-45A6-889B-2E9D6C601378}">
      <dgm:prSet/>
      <dgm:spPr/>
      <dgm:t>
        <a:bodyPr/>
        <a:lstStyle/>
        <a:p>
          <a:endParaRPr lang="en-US" sz="2800">
            <a:latin typeface="+mn-lt"/>
          </a:endParaRPr>
        </a:p>
      </dgm:t>
    </dgm:pt>
    <dgm:pt modelId="{AF070A7F-B583-4AEB-8FCA-607AB6EEAF0D}" type="pres">
      <dgm:prSet presAssocID="{7DA8F42D-82A9-4015-AA6F-3CC39AC68F9A}" presName="diagram" presStyleCnt="0">
        <dgm:presLayoutVars>
          <dgm:dir/>
          <dgm:resizeHandles val="exact"/>
        </dgm:presLayoutVars>
      </dgm:prSet>
      <dgm:spPr/>
    </dgm:pt>
    <dgm:pt modelId="{EC4529EB-844A-4D0D-87FB-7DDE1799411F}" type="pres">
      <dgm:prSet presAssocID="{33EDE0E6-1B1A-409C-A9F2-3F4FB7E06A34}" presName="node" presStyleLbl="node1" presStyleIdx="0" presStyleCnt="3">
        <dgm:presLayoutVars>
          <dgm:bulletEnabled val="1"/>
        </dgm:presLayoutVars>
      </dgm:prSet>
      <dgm:spPr/>
    </dgm:pt>
    <dgm:pt modelId="{50828C74-32DA-4900-B2A7-9979CA43D100}" type="pres">
      <dgm:prSet presAssocID="{838A0832-ECD4-4158-896A-F20F4254A4A5}" presName="sibTrans" presStyleCnt="0"/>
      <dgm:spPr/>
    </dgm:pt>
    <dgm:pt modelId="{A4A6DD39-2B09-4928-A26A-A4D65328C4B8}" type="pres">
      <dgm:prSet presAssocID="{A8AD82CB-4ACF-4197-AF42-37E7EDEBBA84}" presName="node" presStyleLbl="node1" presStyleIdx="1" presStyleCnt="3">
        <dgm:presLayoutVars>
          <dgm:bulletEnabled val="1"/>
        </dgm:presLayoutVars>
      </dgm:prSet>
      <dgm:spPr/>
    </dgm:pt>
    <dgm:pt modelId="{62E4C184-FF77-4FA1-980A-B01DC9FC30EB}" type="pres">
      <dgm:prSet presAssocID="{EABAE1E0-FFC4-47DF-904A-35450B3B5CCC}" presName="sibTrans" presStyleCnt="0"/>
      <dgm:spPr/>
    </dgm:pt>
    <dgm:pt modelId="{8FBF0A11-095A-4AED-92ED-85A7741DD2F3}" type="pres">
      <dgm:prSet presAssocID="{781CA939-C620-4977-9D52-681C01228E37}" presName="node" presStyleLbl="node1" presStyleIdx="2" presStyleCnt="3">
        <dgm:presLayoutVars>
          <dgm:bulletEnabled val="1"/>
        </dgm:presLayoutVars>
      </dgm:prSet>
      <dgm:spPr/>
    </dgm:pt>
  </dgm:ptLst>
  <dgm:cxnLst>
    <dgm:cxn modelId="{C25E9B1F-9701-4A89-801B-7E6E0D3AE2F3}" type="presOf" srcId="{781CA939-C620-4977-9D52-681C01228E37}" destId="{8FBF0A11-095A-4AED-92ED-85A7741DD2F3}" srcOrd="0" destOrd="0" presId="urn:microsoft.com/office/officeart/2005/8/layout/default"/>
    <dgm:cxn modelId="{18237523-5F06-4205-A7C2-D58740CCB254}" srcId="{7DA8F42D-82A9-4015-AA6F-3CC39AC68F9A}" destId="{A8AD82CB-4ACF-4197-AF42-37E7EDEBBA84}" srcOrd="1" destOrd="0" parTransId="{FBC04AA5-BA59-4BD8-A7FD-777A2E67C91C}" sibTransId="{EABAE1E0-FFC4-47DF-904A-35450B3B5CCC}"/>
    <dgm:cxn modelId="{0088E541-892C-45A6-889B-2E9D6C601378}" srcId="{7DA8F42D-82A9-4015-AA6F-3CC39AC68F9A}" destId="{781CA939-C620-4977-9D52-681C01228E37}" srcOrd="2" destOrd="0" parTransId="{68E4ACA0-512C-4C77-ADB3-6198CC498FAE}" sibTransId="{34207C62-0DA1-4DE9-B0E6-E3E725CACDEE}"/>
    <dgm:cxn modelId="{0ED43C52-96DD-4E7A-B59E-A9A8105DCB42}" type="presOf" srcId="{A8AD82CB-4ACF-4197-AF42-37E7EDEBBA84}" destId="{A4A6DD39-2B09-4928-A26A-A4D65328C4B8}" srcOrd="0" destOrd="0" presId="urn:microsoft.com/office/officeart/2005/8/layout/default"/>
    <dgm:cxn modelId="{7812EDA3-7FCF-4A24-899E-AF4F44BAE647}" type="presOf" srcId="{33EDE0E6-1B1A-409C-A9F2-3F4FB7E06A34}" destId="{EC4529EB-844A-4D0D-87FB-7DDE1799411F}" srcOrd="0" destOrd="0" presId="urn:microsoft.com/office/officeart/2005/8/layout/default"/>
    <dgm:cxn modelId="{46FABAC2-DEC2-45CB-B8DD-3C1272CD6F51}" type="presOf" srcId="{7DA8F42D-82A9-4015-AA6F-3CC39AC68F9A}" destId="{AF070A7F-B583-4AEB-8FCA-607AB6EEAF0D}" srcOrd="0" destOrd="0" presId="urn:microsoft.com/office/officeart/2005/8/layout/default"/>
    <dgm:cxn modelId="{5BCD9ED3-E9F3-4F88-9CB7-09956BA3590E}" srcId="{7DA8F42D-82A9-4015-AA6F-3CC39AC68F9A}" destId="{33EDE0E6-1B1A-409C-A9F2-3F4FB7E06A34}" srcOrd="0" destOrd="0" parTransId="{5B61FC0A-5AF5-4511-9AF2-E08F51B776D7}" sibTransId="{838A0832-ECD4-4158-896A-F20F4254A4A5}"/>
    <dgm:cxn modelId="{D289AF87-BC08-46BD-A613-3C9BCBA43ECA}" type="presParOf" srcId="{AF070A7F-B583-4AEB-8FCA-607AB6EEAF0D}" destId="{EC4529EB-844A-4D0D-87FB-7DDE1799411F}" srcOrd="0" destOrd="0" presId="urn:microsoft.com/office/officeart/2005/8/layout/default"/>
    <dgm:cxn modelId="{72A6BAD3-0679-4BDD-8753-98F376CA9715}" type="presParOf" srcId="{AF070A7F-B583-4AEB-8FCA-607AB6EEAF0D}" destId="{50828C74-32DA-4900-B2A7-9979CA43D100}" srcOrd="1" destOrd="0" presId="urn:microsoft.com/office/officeart/2005/8/layout/default"/>
    <dgm:cxn modelId="{76FF6BC4-D09A-4543-A46F-AB2BFD6DF5E2}" type="presParOf" srcId="{AF070A7F-B583-4AEB-8FCA-607AB6EEAF0D}" destId="{A4A6DD39-2B09-4928-A26A-A4D65328C4B8}" srcOrd="2" destOrd="0" presId="urn:microsoft.com/office/officeart/2005/8/layout/default"/>
    <dgm:cxn modelId="{5962267E-D715-4E9F-B183-1DAECB77BDF4}" type="presParOf" srcId="{AF070A7F-B583-4AEB-8FCA-607AB6EEAF0D}" destId="{62E4C184-FF77-4FA1-980A-B01DC9FC30EB}" srcOrd="3" destOrd="0" presId="urn:microsoft.com/office/officeart/2005/8/layout/default"/>
    <dgm:cxn modelId="{872EF784-2276-48A7-87BE-BB73535975EA}" type="presParOf" srcId="{AF070A7F-B583-4AEB-8FCA-607AB6EEAF0D}" destId="{8FBF0A11-095A-4AED-92ED-85A7741DD2F3}" srcOrd="4"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FECD00B-523F-437B-849D-8BD7AFD0D864}" type="doc">
      <dgm:prSet loTypeId="urn:microsoft.com/office/officeart/2008/layout/LinedList" loCatId="list" qsTypeId="urn:microsoft.com/office/officeart/2005/8/quickstyle/simple1" qsCatId="simple" csTypeId="urn:microsoft.com/office/officeart/2005/8/colors/accent3_1" csCatId="accent3" phldr="1"/>
      <dgm:spPr/>
      <dgm:t>
        <a:bodyPr/>
        <a:lstStyle/>
        <a:p>
          <a:endParaRPr lang="en-US"/>
        </a:p>
      </dgm:t>
    </dgm:pt>
    <dgm:pt modelId="{4F856ADA-6891-46A5-8BAA-17C677CEBB76}">
      <dgm:prSet custT="1"/>
      <dgm:spPr/>
      <dgm:t>
        <a:bodyPr/>
        <a:lstStyle/>
        <a:p>
          <a:r>
            <a:rPr lang="en-AU" sz="2800" err="1"/>
            <a:t>ValidateRange</a:t>
          </a:r>
          <a:r>
            <a:rPr lang="en-AU" sz="2800"/>
            <a:t>(min, max)</a:t>
          </a:r>
          <a:endParaRPr lang="en-US" sz="2800"/>
        </a:p>
      </dgm:t>
    </dgm:pt>
    <dgm:pt modelId="{9491FD8D-5C23-44A9-826F-C64BEF4C0616}" type="parTrans" cxnId="{FB2FBAC6-6A13-46EE-90FD-833A67398F76}">
      <dgm:prSet/>
      <dgm:spPr/>
      <dgm:t>
        <a:bodyPr/>
        <a:lstStyle/>
        <a:p>
          <a:endParaRPr lang="en-US" sz="2800"/>
        </a:p>
      </dgm:t>
    </dgm:pt>
    <dgm:pt modelId="{5FB3564E-E3C6-45E3-A727-1CBBF9024B1D}" type="sibTrans" cxnId="{FB2FBAC6-6A13-46EE-90FD-833A67398F76}">
      <dgm:prSet/>
      <dgm:spPr/>
      <dgm:t>
        <a:bodyPr/>
        <a:lstStyle/>
        <a:p>
          <a:endParaRPr lang="en-US" sz="2800"/>
        </a:p>
      </dgm:t>
    </dgm:pt>
    <dgm:pt modelId="{28122814-2FD4-4281-BEE0-3CA03D2D7255}">
      <dgm:prSet custT="1"/>
      <dgm:spPr/>
      <dgm:t>
        <a:bodyPr/>
        <a:lstStyle/>
        <a:p>
          <a:r>
            <a:rPr lang="en-AU" sz="2800" err="1"/>
            <a:t>ValidateCount</a:t>
          </a:r>
          <a:r>
            <a:rPr lang="en-AU" sz="2800"/>
            <a:t>(min, max)</a:t>
          </a:r>
          <a:endParaRPr lang="en-US" sz="2800"/>
        </a:p>
      </dgm:t>
    </dgm:pt>
    <dgm:pt modelId="{FBB7BC61-E938-479C-905F-1FBBD36CF16A}" type="parTrans" cxnId="{A2D47C1A-A2E5-4C17-B20C-3AC298559CD6}">
      <dgm:prSet/>
      <dgm:spPr/>
      <dgm:t>
        <a:bodyPr/>
        <a:lstStyle/>
        <a:p>
          <a:endParaRPr lang="en-US" sz="2800"/>
        </a:p>
      </dgm:t>
    </dgm:pt>
    <dgm:pt modelId="{FDDB9825-CE54-401B-B66D-9B7D3B0A41D2}" type="sibTrans" cxnId="{A2D47C1A-A2E5-4C17-B20C-3AC298559CD6}">
      <dgm:prSet/>
      <dgm:spPr/>
      <dgm:t>
        <a:bodyPr/>
        <a:lstStyle/>
        <a:p>
          <a:endParaRPr lang="en-US" sz="2800"/>
        </a:p>
      </dgm:t>
    </dgm:pt>
    <dgm:pt modelId="{5C02F66C-DB48-44E8-BE5D-88546CC48AA0}">
      <dgm:prSet custT="1"/>
      <dgm:spPr/>
      <dgm:t>
        <a:bodyPr/>
        <a:lstStyle/>
        <a:p>
          <a:r>
            <a:rPr lang="en-AU" sz="2800" err="1"/>
            <a:t>ValidateLength</a:t>
          </a:r>
          <a:r>
            <a:rPr lang="en-AU" sz="2800"/>
            <a:t>(min, max)</a:t>
          </a:r>
          <a:endParaRPr lang="en-US" sz="2800"/>
        </a:p>
      </dgm:t>
    </dgm:pt>
    <dgm:pt modelId="{1CFFADCB-4388-4E4B-8AFC-8C95D01A2F7E}" type="parTrans" cxnId="{C2C7518F-825E-47FC-8D66-39AD7638964C}">
      <dgm:prSet/>
      <dgm:spPr/>
      <dgm:t>
        <a:bodyPr/>
        <a:lstStyle/>
        <a:p>
          <a:endParaRPr lang="en-US"/>
        </a:p>
      </dgm:t>
    </dgm:pt>
    <dgm:pt modelId="{62719169-B77C-41A4-82EC-1059EA762F9C}" type="sibTrans" cxnId="{C2C7518F-825E-47FC-8D66-39AD7638964C}">
      <dgm:prSet/>
      <dgm:spPr/>
      <dgm:t>
        <a:bodyPr/>
        <a:lstStyle/>
        <a:p>
          <a:endParaRPr lang="en-US"/>
        </a:p>
      </dgm:t>
    </dgm:pt>
    <dgm:pt modelId="{E83CA720-4B64-4814-8783-4FC8C996BD2F}" type="pres">
      <dgm:prSet presAssocID="{DFECD00B-523F-437B-849D-8BD7AFD0D864}" presName="vert0" presStyleCnt="0">
        <dgm:presLayoutVars>
          <dgm:dir/>
          <dgm:animOne val="branch"/>
          <dgm:animLvl val="lvl"/>
        </dgm:presLayoutVars>
      </dgm:prSet>
      <dgm:spPr/>
    </dgm:pt>
    <dgm:pt modelId="{F234D910-82B0-4B49-B4FF-3E8B3FCC921E}" type="pres">
      <dgm:prSet presAssocID="{4F856ADA-6891-46A5-8BAA-17C677CEBB76}" presName="thickLine" presStyleLbl="alignNode1" presStyleIdx="0" presStyleCnt="3"/>
      <dgm:spPr/>
    </dgm:pt>
    <dgm:pt modelId="{20BE175A-2BEA-4710-A892-B778BF6D4C0C}" type="pres">
      <dgm:prSet presAssocID="{4F856ADA-6891-46A5-8BAA-17C677CEBB76}" presName="horz1" presStyleCnt="0"/>
      <dgm:spPr/>
    </dgm:pt>
    <dgm:pt modelId="{BA0ED771-CB9D-4635-BBFD-07089361C9D6}" type="pres">
      <dgm:prSet presAssocID="{4F856ADA-6891-46A5-8BAA-17C677CEBB76}" presName="tx1" presStyleLbl="revTx" presStyleIdx="0" presStyleCnt="3"/>
      <dgm:spPr/>
    </dgm:pt>
    <dgm:pt modelId="{271A844E-9FD2-4162-A812-066E1D1B744D}" type="pres">
      <dgm:prSet presAssocID="{4F856ADA-6891-46A5-8BAA-17C677CEBB76}" presName="vert1" presStyleCnt="0"/>
      <dgm:spPr/>
    </dgm:pt>
    <dgm:pt modelId="{B73D4064-7AFE-40BA-AC18-86527978332B}" type="pres">
      <dgm:prSet presAssocID="{28122814-2FD4-4281-BEE0-3CA03D2D7255}" presName="thickLine" presStyleLbl="alignNode1" presStyleIdx="1" presStyleCnt="3"/>
      <dgm:spPr/>
    </dgm:pt>
    <dgm:pt modelId="{3E79FCE6-24D7-4984-B979-58F99BBEA846}" type="pres">
      <dgm:prSet presAssocID="{28122814-2FD4-4281-BEE0-3CA03D2D7255}" presName="horz1" presStyleCnt="0"/>
      <dgm:spPr/>
    </dgm:pt>
    <dgm:pt modelId="{67985A8C-EEA8-4276-B212-FC919DFDE219}" type="pres">
      <dgm:prSet presAssocID="{28122814-2FD4-4281-BEE0-3CA03D2D7255}" presName="tx1" presStyleLbl="revTx" presStyleIdx="1" presStyleCnt="3" custScaleY="101474"/>
      <dgm:spPr/>
    </dgm:pt>
    <dgm:pt modelId="{D0CEDF66-4AC4-40C5-8609-036D9D33E35C}" type="pres">
      <dgm:prSet presAssocID="{28122814-2FD4-4281-BEE0-3CA03D2D7255}" presName="vert1" presStyleCnt="0"/>
      <dgm:spPr/>
    </dgm:pt>
    <dgm:pt modelId="{FBBFFB22-C268-44C7-9CF9-AD27A5DEC4AA}" type="pres">
      <dgm:prSet presAssocID="{5C02F66C-DB48-44E8-BE5D-88546CC48AA0}" presName="thickLine" presStyleLbl="alignNode1" presStyleIdx="2" presStyleCnt="3"/>
      <dgm:spPr/>
    </dgm:pt>
    <dgm:pt modelId="{C90ED69E-1B9D-434E-BE4F-F21E2004D47A}" type="pres">
      <dgm:prSet presAssocID="{5C02F66C-DB48-44E8-BE5D-88546CC48AA0}" presName="horz1" presStyleCnt="0"/>
      <dgm:spPr/>
    </dgm:pt>
    <dgm:pt modelId="{A0006638-BD80-44D8-BE74-128830346805}" type="pres">
      <dgm:prSet presAssocID="{5C02F66C-DB48-44E8-BE5D-88546CC48AA0}" presName="tx1" presStyleLbl="revTx" presStyleIdx="2" presStyleCnt="3"/>
      <dgm:spPr/>
    </dgm:pt>
    <dgm:pt modelId="{2E5AAF86-ECBF-46CB-BED2-1818D4463517}" type="pres">
      <dgm:prSet presAssocID="{5C02F66C-DB48-44E8-BE5D-88546CC48AA0}" presName="vert1" presStyleCnt="0"/>
      <dgm:spPr/>
    </dgm:pt>
  </dgm:ptLst>
  <dgm:cxnLst>
    <dgm:cxn modelId="{A2D47C1A-A2E5-4C17-B20C-3AC298559CD6}" srcId="{DFECD00B-523F-437B-849D-8BD7AFD0D864}" destId="{28122814-2FD4-4281-BEE0-3CA03D2D7255}" srcOrd="1" destOrd="0" parTransId="{FBB7BC61-E938-479C-905F-1FBBD36CF16A}" sibTransId="{FDDB9825-CE54-401B-B66D-9B7D3B0A41D2}"/>
    <dgm:cxn modelId="{06E79843-59BF-46D6-8205-74B67A501AE0}" type="presOf" srcId="{DFECD00B-523F-437B-849D-8BD7AFD0D864}" destId="{E83CA720-4B64-4814-8783-4FC8C996BD2F}" srcOrd="0" destOrd="0" presId="urn:microsoft.com/office/officeart/2008/layout/LinedList"/>
    <dgm:cxn modelId="{0738AF6A-83B0-4FAF-8DCB-6B59C77BE136}" type="presOf" srcId="{28122814-2FD4-4281-BEE0-3CA03D2D7255}" destId="{67985A8C-EEA8-4276-B212-FC919DFDE219}" srcOrd="0" destOrd="0" presId="urn:microsoft.com/office/officeart/2008/layout/LinedList"/>
    <dgm:cxn modelId="{C2C7518F-825E-47FC-8D66-39AD7638964C}" srcId="{DFECD00B-523F-437B-849D-8BD7AFD0D864}" destId="{5C02F66C-DB48-44E8-BE5D-88546CC48AA0}" srcOrd="2" destOrd="0" parTransId="{1CFFADCB-4388-4E4B-8AFC-8C95D01A2F7E}" sibTransId="{62719169-B77C-41A4-82EC-1059EA762F9C}"/>
    <dgm:cxn modelId="{9D633E98-0D0A-487D-A281-FBEBFDF1F376}" type="presOf" srcId="{4F856ADA-6891-46A5-8BAA-17C677CEBB76}" destId="{BA0ED771-CB9D-4635-BBFD-07089361C9D6}" srcOrd="0" destOrd="0" presId="urn:microsoft.com/office/officeart/2008/layout/LinedList"/>
    <dgm:cxn modelId="{7AB36D9F-9E33-4B51-B440-BD20E6D125EB}" type="presOf" srcId="{5C02F66C-DB48-44E8-BE5D-88546CC48AA0}" destId="{A0006638-BD80-44D8-BE74-128830346805}" srcOrd="0" destOrd="0" presId="urn:microsoft.com/office/officeart/2008/layout/LinedList"/>
    <dgm:cxn modelId="{FB2FBAC6-6A13-46EE-90FD-833A67398F76}" srcId="{DFECD00B-523F-437B-849D-8BD7AFD0D864}" destId="{4F856ADA-6891-46A5-8BAA-17C677CEBB76}" srcOrd="0" destOrd="0" parTransId="{9491FD8D-5C23-44A9-826F-C64BEF4C0616}" sibTransId="{5FB3564E-E3C6-45E3-A727-1CBBF9024B1D}"/>
    <dgm:cxn modelId="{FA9FFF56-26A2-4150-8EC3-A20DD84E943A}" type="presParOf" srcId="{E83CA720-4B64-4814-8783-4FC8C996BD2F}" destId="{F234D910-82B0-4B49-B4FF-3E8B3FCC921E}" srcOrd="0" destOrd="0" presId="urn:microsoft.com/office/officeart/2008/layout/LinedList"/>
    <dgm:cxn modelId="{F642CCD2-229F-424B-BBC2-BF2E13A3B668}" type="presParOf" srcId="{E83CA720-4B64-4814-8783-4FC8C996BD2F}" destId="{20BE175A-2BEA-4710-A892-B778BF6D4C0C}" srcOrd="1" destOrd="0" presId="urn:microsoft.com/office/officeart/2008/layout/LinedList"/>
    <dgm:cxn modelId="{E8FB9BA6-9175-4746-8A0D-EAD73DE4AB5B}" type="presParOf" srcId="{20BE175A-2BEA-4710-A892-B778BF6D4C0C}" destId="{BA0ED771-CB9D-4635-BBFD-07089361C9D6}" srcOrd="0" destOrd="0" presId="urn:microsoft.com/office/officeart/2008/layout/LinedList"/>
    <dgm:cxn modelId="{45A37154-8DE4-4E22-9CED-F225B39915FD}" type="presParOf" srcId="{20BE175A-2BEA-4710-A892-B778BF6D4C0C}" destId="{271A844E-9FD2-4162-A812-066E1D1B744D}" srcOrd="1" destOrd="0" presId="urn:microsoft.com/office/officeart/2008/layout/LinedList"/>
    <dgm:cxn modelId="{203EF464-3939-49AE-9191-64EA928C6F6F}" type="presParOf" srcId="{E83CA720-4B64-4814-8783-4FC8C996BD2F}" destId="{B73D4064-7AFE-40BA-AC18-86527978332B}" srcOrd="2" destOrd="0" presId="urn:microsoft.com/office/officeart/2008/layout/LinedList"/>
    <dgm:cxn modelId="{5AE7EB19-3E74-4AD4-9424-9FC750EFECC2}" type="presParOf" srcId="{E83CA720-4B64-4814-8783-4FC8C996BD2F}" destId="{3E79FCE6-24D7-4984-B979-58F99BBEA846}" srcOrd="3" destOrd="0" presId="urn:microsoft.com/office/officeart/2008/layout/LinedList"/>
    <dgm:cxn modelId="{871A67AE-9114-4B15-97B4-6B00E0E6CA34}" type="presParOf" srcId="{3E79FCE6-24D7-4984-B979-58F99BBEA846}" destId="{67985A8C-EEA8-4276-B212-FC919DFDE219}" srcOrd="0" destOrd="0" presId="urn:microsoft.com/office/officeart/2008/layout/LinedList"/>
    <dgm:cxn modelId="{64CADF49-C436-4D73-B350-2EDEF49EA67B}" type="presParOf" srcId="{3E79FCE6-24D7-4984-B979-58F99BBEA846}" destId="{D0CEDF66-4AC4-40C5-8609-036D9D33E35C}" srcOrd="1" destOrd="0" presId="urn:microsoft.com/office/officeart/2008/layout/LinedList"/>
    <dgm:cxn modelId="{719EFEAA-1888-46A7-87F9-243F9159A5EA}" type="presParOf" srcId="{E83CA720-4B64-4814-8783-4FC8C996BD2F}" destId="{FBBFFB22-C268-44C7-9CF9-AD27A5DEC4AA}" srcOrd="4" destOrd="0" presId="urn:microsoft.com/office/officeart/2008/layout/LinedList"/>
    <dgm:cxn modelId="{4298E64D-D92A-41A8-9C75-4B2CE06E46DB}" type="presParOf" srcId="{E83CA720-4B64-4814-8783-4FC8C996BD2F}" destId="{C90ED69E-1B9D-434E-BE4F-F21E2004D47A}" srcOrd="5" destOrd="0" presId="urn:microsoft.com/office/officeart/2008/layout/LinedList"/>
    <dgm:cxn modelId="{D90284A2-F7CE-470E-A79E-0C426CFCB10B}" type="presParOf" srcId="{C90ED69E-1B9D-434E-BE4F-F21E2004D47A}" destId="{A0006638-BD80-44D8-BE74-128830346805}" srcOrd="0" destOrd="0" presId="urn:microsoft.com/office/officeart/2008/layout/LinedList"/>
    <dgm:cxn modelId="{DDD3EFB4-0569-49A8-9E70-B1796CE37867}" type="presParOf" srcId="{C90ED69E-1B9D-434E-BE4F-F21E2004D47A}" destId="{2E5AAF86-ECBF-46CB-BED2-1818D4463517}"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B5E1E86-C883-4093-8AEF-3209CF30FD87}" type="doc">
      <dgm:prSet loTypeId="urn:microsoft.com/office/officeart/2008/layout/VerticalCurvedList" loCatId="list" qsTypeId="urn:microsoft.com/office/officeart/2005/8/quickstyle/simple1" qsCatId="simple" csTypeId="urn:microsoft.com/office/officeart/2005/8/colors/accent3_1" csCatId="accent3" phldr="1"/>
      <dgm:spPr/>
      <dgm:t>
        <a:bodyPr/>
        <a:lstStyle/>
        <a:p>
          <a:endParaRPr lang="en-US"/>
        </a:p>
      </dgm:t>
    </dgm:pt>
    <dgm:pt modelId="{E68D4326-3827-48C9-B8EA-5B80269FAA12}">
      <dgm:prSet custT="1"/>
      <dgm:spPr/>
      <dgm:t>
        <a:bodyPr/>
        <a:lstStyle/>
        <a:p>
          <a:r>
            <a:rPr lang="en-US" sz="2400"/>
            <a:t>Specifies </a:t>
          </a:r>
          <a:r>
            <a:rPr lang="en-US" sz="2400" b="1"/>
            <a:t>minimum</a:t>
          </a:r>
          <a:r>
            <a:rPr lang="en-US" sz="2400"/>
            <a:t> and </a:t>
          </a:r>
          <a:r>
            <a:rPr lang="en-US" sz="2400" b="1"/>
            <a:t>maximum</a:t>
          </a:r>
          <a:r>
            <a:rPr lang="en-US" sz="2400"/>
            <a:t> value</a:t>
          </a:r>
        </a:p>
      </dgm:t>
    </dgm:pt>
    <dgm:pt modelId="{162EF380-21B0-40D9-B8E4-462912BE630E}" type="parTrans" cxnId="{8BDA6FE9-F6CF-4035-A06E-E29AA83A587E}">
      <dgm:prSet/>
      <dgm:spPr/>
      <dgm:t>
        <a:bodyPr/>
        <a:lstStyle/>
        <a:p>
          <a:endParaRPr lang="en-US" sz="2400"/>
        </a:p>
      </dgm:t>
    </dgm:pt>
    <dgm:pt modelId="{B6577833-439D-466F-8EC2-07A464422ECC}" type="sibTrans" cxnId="{8BDA6FE9-F6CF-4035-A06E-E29AA83A587E}">
      <dgm:prSet/>
      <dgm:spPr/>
      <dgm:t>
        <a:bodyPr/>
        <a:lstStyle/>
        <a:p>
          <a:endParaRPr lang="en-US" sz="2400"/>
        </a:p>
      </dgm:t>
    </dgm:pt>
    <dgm:pt modelId="{BF539DDA-6CA3-436D-9537-2A828B57BB9D}">
      <dgm:prSet custT="1"/>
      <dgm:spPr/>
      <dgm:t>
        <a:bodyPr/>
        <a:lstStyle/>
        <a:p>
          <a:r>
            <a:rPr lang="en-US" sz="2400"/>
            <a:t>Range applies to </a:t>
          </a:r>
          <a:r>
            <a:rPr lang="en-US" sz="2400" b="1"/>
            <a:t>numbers</a:t>
          </a:r>
        </a:p>
      </dgm:t>
    </dgm:pt>
    <dgm:pt modelId="{80CE4B18-3243-44E2-BF32-E2174A874AA6}" type="parTrans" cxnId="{564A5DEB-F888-4FBB-986F-D97A4203BAB4}">
      <dgm:prSet/>
      <dgm:spPr/>
      <dgm:t>
        <a:bodyPr/>
        <a:lstStyle/>
        <a:p>
          <a:endParaRPr lang="en-US" sz="2400"/>
        </a:p>
      </dgm:t>
    </dgm:pt>
    <dgm:pt modelId="{9B91A37E-30B2-4AAB-8085-2E58FE353E44}" type="sibTrans" cxnId="{564A5DEB-F888-4FBB-986F-D97A4203BAB4}">
      <dgm:prSet/>
      <dgm:spPr/>
      <dgm:t>
        <a:bodyPr/>
        <a:lstStyle/>
        <a:p>
          <a:endParaRPr lang="en-US" sz="2400"/>
        </a:p>
      </dgm:t>
    </dgm:pt>
    <dgm:pt modelId="{7C2F9338-D620-4DD8-B00E-74CB29E47AFE}">
      <dgm:prSet custT="1"/>
      <dgm:spPr/>
      <dgm:t>
        <a:bodyPr/>
        <a:lstStyle/>
        <a:p>
          <a:r>
            <a:rPr lang="en-US" sz="2400"/>
            <a:t>Length applies to </a:t>
          </a:r>
          <a:r>
            <a:rPr lang="en-US" sz="2400" b="1"/>
            <a:t>string</a:t>
          </a:r>
          <a:r>
            <a:rPr lang="en-US" sz="2400"/>
            <a:t> characters</a:t>
          </a:r>
        </a:p>
      </dgm:t>
    </dgm:pt>
    <dgm:pt modelId="{78BF1F4D-E6D9-4E45-ADB9-F563C0D373E4}" type="parTrans" cxnId="{AF72D1E5-5F52-42C3-8E51-1CF864CA7C8D}">
      <dgm:prSet/>
      <dgm:spPr/>
      <dgm:t>
        <a:bodyPr/>
        <a:lstStyle/>
        <a:p>
          <a:endParaRPr lang="en-US" sz="2400"/>
        </a:p>
      </dgm:t>
    </dgm:pt>
    <dgm:pt modelId="{4EB13371-FE3C-4CF2-813C-D3766C62DB3C}" type="sibTrans" cxnId="{AF72D1E5-5F52-42C3-8E51-1CF864CA7C8D}">
      <dgm:prSet/>
      <dgm:spPr/>
      <dgm:t>
        <a:bodyPr/>
        <a:lstStyle/>
        <a:p>
          <a:endParaRPr lang="en-US" sz="2400"/>
        </a:p>
      </dgm:t>
    </dgm:pt>
    <dgm:pt modelId="{9C8F68B6-7F87-43D4-AF67-C7154B8BE5AB}">
      <dgm:prSet custT="1"/>
      <dgm:spPr/>
      <dgm:t>
        <a:bodyPr/>
        <a:lstStyle/>
        <a:p>
          <a:r>
            <a:rPr lang="en-US" sz="2400"/>
            <a:t>Count applies </a:t>
          </a:r>
          <a:r>
            <a:rPr lang="en-US" sz="2400" b="1"/>
            <a:t>collection</a:t>
          </a:r>
          <a:r>
            <a:rPr lang="en-US" sz="2400"/>
            <a:t> elements</a:t>
          </a:r>
        </a:p>
      </dgm:t>
    </dgm:pt>
    <dgm:pt modelId="{8CEADB5D-7CD2-4FEF-8261-9924D5912119}" type="parTrans" cxnId="{C92F1E83-A89A-462C-BDBD-C1773143D8A5}">
      <dgm:prSet/>
      <dgm:spPr/>
      <dgm:t>
        <a:bodyPr/>
        <a:lstStyle/>
        <a:p>
          <a:endParaRPr lang="en-US" sz="2400"/>
        </a:p>
      </dgm:t>
    </dgm:pt>
    <dgm:pt modelId="{63B5D454-E563-43CF-BB09-12D0F92E5879}" type="sibTrans" cxnId="{C92F1E83-A89A-462C-BDBD-C1773143D8A5}">
      <dgm:prSet/>
      <dgm:spPr/>
      <dgm:t>
        <a:bodyPr/>
        <a:lstStyle/>
        <a:p>
          <a:endParaRPr lang="en-US" sz="2400"/>
        </a:p>
      </dgm:t>
    </dgm:pt>
    <dgm:pt modelId="{CA559012-906E-4C26-B180-30B0356810FF}" type="pres">
      <dgm:prSet presAssocID="{7B5E1E86-C883-4093-8AEF-3209CF30FD87}" presName="Name0" presStyleCnt="0">
        <dgm:presLayoutVars>
          <dgm:chMax val="7"/>
          <dgm:chPref val="7"/>
          <dgm:dir/>
        </dgm:presLayoutVars>
      </dgm:prSet>
      <dgm:spPr/>
    </dgm:pt>
    <dgm:pt modelId="{146DBAF6-6C1F-4994-AAC6-8B26B71B5D99}" type="pres">
      <dgm:prSet presAssocID="{7B5E1E86-C883-4093-8AEF-3209CF30FD87}" presName="Name1" presStyleCnt="0"/>
      <dgm:spPr/>
    </dgm:pt>
    <dgm:pt modelId="{24F4153C-C5A6-4CBE-B9B2-B2117BEDCABF}" type="pres">
      <dgm:prSet presAssocID="{7B5E1E86-C883-4093-8AEF-3209CF30FD87}" presName="cycle" presStyleCnt="0"/>
      <dgm:spPr/>
    </dgm:pt>
    <dgm:pt modelId="{EB703F51-C384-46BE-AE19-635ABFC02B76}" type="pres">
      <dgm:prSet presAssocID="{7B5E1E86-C883-4093-8AEF-3209CF30FD87}" presName="srcNode" presStyleLbl="node1" presStyleIdx="0" presStyleCnt="4"/>
      <dgm:spPr/>
    </dgm:pt>
    <dgm:pt modelId="{D4748006-7FAC-4667-98E8-93383B6800A9}" type="pres">
      <dgm:prSet presAssocID="{7B5E1E86-C883-4093-8AEF-3209CF30FD87}" presName="conn" presStyleLbl="parChTrans1D2" presStyleIdx="0" presStyleCnt="1"/>
      <dgm:spPr/>
    </dgm:pt>
    <dgm:pt modelId="{B256E878-C83A-4940-8036-CCCB9FDBF79F}" type="pres">
      <dgm:prSet presAssocID="{7B5E1E86-C883-4093-8AEF-3209CF30FD87}" presName="extraNode" presStyleLbl="node1" presStyleIdx="0" presStyleCnt="4"/>
      <dgm:spPr/>
    </dgm:pt>
    <dgm:pt modelId="{47329ECC-84FC-45DA-8B2C-FC50540FE98E}" type="pres">
      <dgm:prSet presAssocID="{7B5E1E86-C883-4093-8AEF-3209CF30FD87}" presName="dstNode" presStyleLbl="node1" presStyleIdx="0" presStyleCnt="4"/>
      <dgm:spPr/>
    </dgm:pt>
    <dgm:pt modelId="{627D5A71-2C0C-4525-B087-BFCAF5C1E080}" type="pres">
      <dgm:prSet presAssocID="{E68D4326-3827-48C9-B8EA-5B80269FAA12}" presName="text_1" presStyleLbl="node1" presStyleIdx="0" presStyleCnt="4">
        <dgm:presLayoutVars>
          <dgm:bulletEnabled val="1"/>
        </dgm:presLayoutVars>
      </dgm:prSet>
      <dgm:spPr/>
    </dgm:pt>
    <dgm:pt modelId="{FF15AB6A-81B4-48BC-99E9-8C1A2DC56D9C}" type="pres">
      <dgm:prSet presAssocID="{E68D4326-3827-48C9-B8EA-5B80269FAA12}" presName="accent_1" presStyleCnt="0"/>
      <dgm:spPr/>
    </dgm:pt>
    <dgm:pt modelId="{67527477-06BE-4B88-9A03-316DD049AFE7}" type="pres">
      <dgm:prSet presAssocID="{E68D4326-3827-48C9-B8EA-5B80269FAA12}" presName="accentRepeatNode" presStyleLbl="solidFgAcc1" presStyleIdx="0" presStyleCnt="4"/>
      <dgm:spPr/>
    </dgm:pt>
    <dgm:pt modelId="{18FE5072-3DBC-475C-A222-1CDF2AB5E184}" type="pres">
      <dgm:prSet presAssocID="{BF539DDA-6CA3-436D-9537-2A828B57BB9D}" presName="text_2" presStyleLbl="node1" presStyleIdx="1" presStyleCnt="4">
        <dgm:presLayoutVars>
          <dgm:bulletEnabled val="1"/>
        </dgm:presLayoutVars>
      </dgm:prSet>
      <dgm:spPr/>
    </dgm:pt>
    <dgm:pt modelId="{7E6929C7-DA0B-4224-B3C6-34E50BD1B229}" type="pres">
      <dgm:prSet presAssocID="{BF539DDA-6CA3-436D-9537-2A828B57BB9D}" presName="accent_2" presStyleCnt="0"/>
      <dgm:spPr/>
    </dgm:pt>
    <dgm:pt modelId="{EFA9BF18-3A0E-4AD5-8F5D-D2F11BC6334D}" type="pres">
      <dgm:prSet presAssocID="{BF539DDA-6CA3-436D-9537-2A828B57BB9D}" presName="accentRepeatNode" presStyleLbl="solidFgAcc1" presStyleIdx="1" presStyleCnt="4"/>
      <dgm:spPr/>
    </dgm:pt>
    <dgm:pt modelId="{9C86D498-32A3-4283-A3A9-4A86656E5739}" type="pres">
      <dgm:prSet presAssocID="{7C2F9338-D620-4DD8-B00E-74CB29E47AFE}" presName="text_3" presStyleLbl="node1" presStyleIdx="2" presStyleCnt="4">
        <dgm:presLayoutVars>
          <dgm:bulletEnabled val="1"/>
        </dgm:presLayoutVars>
      </dgm:prSet>
      <dgm:spPr/>
    </dgm:pt>
    <dgm:pt modelId="{AE22A3CF-E9E6-4596-A0DA-C8549688612C}" type="pres">
      <dgm:prSet presAssocID="{7C2F9338-D620-4DD8-B00E-74CB29E47AFE}" presName="accent_3" presStyleCnt="0"/>
      <dgm:spPr/>
    </dgm:pt>
    <dgm:pt modelId="{FCF73459-8F18-435E-94F0-7FFECD13556E}" type="pres">
      <dgm:prSet presAssocID="{7C2F9338-D620-4DD8-B00E-74CB29E47AFE}" presName="accentRepeatNode" presStyleLbl="solidFgAcc1" presStyleIdx="2" presStyleCnt="4"/>
      <dgm:spPr/>
    </dgm:pt>
    <dgm:pt modelId="{A33CE81E-6EAB-4ADE-AACE-1220B8CF8FBD}" type="pres">
      <dgm:prSet presAssocID="{9C8F68B6-7F87-43D4-AF67-C7154B8BE5AB}" presName="text_4" presStyleLbl="node1" presStyleIdx="3" presStyleCnt="4">
        <dgm:presLayoutVars>
          <dgm:bulletEnabled val="1"/>
        </dgm:presLayoutVars>
      </dgm:prSet>
      <dgm:spPr/>
    </dgm:pt>
    <dgm:pt modelId="{D0FF8F90-65FE-4F41-99C5-BAFDCF9A5DA2}" type="pres">
      <dgm:prSet presAssocID="{9C8F68B6-7F87-43D4-AF67-C7154B8BE5AB}" presName="accent_4" presStyleCnt="0"/>
      <dgm:spPr/>
    </dgm:pt>
    <dgm:pt modelId="{68EEF029-A383-466D-8949-C5AC299A3070}" type="pres">
      <dgm:prSet presAssocID="{9C8F68B6-7F87-43D4-AF67-C7154B8BE5AB}" presName="accentRepeatNode" presStyleLbl="solidFgAcc1" presStyleIdx="3" presStyleCnt="4"/>
      <dgm:spPr/>
    </dgm:pt>
  </dgm:ptLst>
  <dgm:cxnLst>
    <dgm:cxn modelId="{506B5264-D515-458D-B78E-11B5FE122C9A}" type="presOf" srcId="{BF539DDA-6CA3-436D-9537-2A828B57BB9D}" destId="{18FE5072-3DBC-475C-A222-1CDF2AB5E184}" srcOrd="0" destOrd="0" presId="urn:microsoft.com/office/officeart/2008/layout/VerticalCurvedList"/>
    <dgm:cxn modelId="{55BFC059-E6F1-4973-A948-7B16ECDB1799}" type="presOf" srcId="{7C2F9338-D620-4DD8-B00E-74CB29E47AFE}" destId="{9C86D498-32A3-4283-A3A9-4A86656E5739}" srcOrd="0" destOrd="0" presId="urn:microsoft.com/office/officeart/2008/layout/VerticalCurvedList"/>
    <dgm:cxn modelId="{C92F1E83-A89A-462C-BDBD-C1773143D8A5}" srcId="{7B5E1E86-C883-4093-8AEF-3209CF30FD87}" destId="{9C8F68B6-7F87-43D4-AF67-C7154B8BE5AB}" srcOrd="3" destOrd="0" parTransId="{8CEADB5D-7CD2-4FEF-8261-9924D5912119}" sibTransId="{63B5D454-E563-43CF-BB09-12D0F92E5879}"/>
    <dgm:cxn modelId="{D8694686-12F4-4625-B778-6E5E80D8618C}" type="presOf" srcId="{9C8F68B6-7F87-43D4-AF67-C7154B8BE5AB}" destId="{A33CE81E-6EAB-4ADE-AACE-1220B8CF8FBD}" srcOrd="0" destOrd="0" presId="urn:microsoft.com/office/officeart/2008/layout/VerticalCurvedList"/>
    <dgm:cxn modelId="{F4BA7C97-9DC3-422C-990A-1CD018607172}" type="presOf" srcId="{B6577833-439D-466F-8EC2-07A464422ECC}" destId="{D4748006-7FAC-4667-98E8-93383B6800A9}" srcOrd="0" destOrd="0" presId="urn:microsoft.com/office/officeart/2008/layout/VerticalCurvedList"/>
    <dgm:cxn modelId="{F10855C4-1C16-4D3A-B589-9DA06ED7EB35}" type="presOf" srcId="{7B5E1E86-C883-4093-8AEF-3209CF30FD87}" destId="{CA559012-906E-4C26-B180-30B0356810FF}" srcOrd="0" destOrd="0" presId="urn:microsoft.com/office/officeart/2008/layout/VerticalCurvedList"/>
    <dgm:cxn modelId="{582AD0DC-5768-46F6-9004-4B2864FA092C}" type="presOf" srcId="{E68D4326-3827-48C9-B8EA-5B80269FAA12}" destId="{627D5A71-2C0C-4525-B087-BFCAF5C1E080}" srcOrd="0" destOrd="0" presId="urn:microsoft.com/office/officeart/2008/layout/VerticalCurvedList"/>
    <dgm:cxn modelId="{AF72D1E5-5F52-42C3-8E51-1CF864CA7C8D}" srcId="{7B5E1E86-C883-4093-8AEF-3209CF30FD87}" destId="{7C2F9338-D620-4DD8-B00E-74CB29E47AFE}" srcOrd="2" destOrd="0" parTransId="{78BF1F4D-E6D9-4E45-ADB9-F563C0D373E4}" sibTransId="{4EB13371-FE3C-4CF2-813C-D3766C62DB3C}"/>
    <dgm:cxn modelId="{8BDA6FE9-F6CF-4035-A06E-E29AA83A587E}" srcId="{7B5E1E86-C883-4093-8AEF-3209CF30FD87}" destId="{E68D4326-3827-48C9-B8EA-5B80269FAA12}" srcOrd="0" destOrd="0" parTransId="{162EF380-21B0-40D9-B8E4-462912BE630E}" sibTransId="{B6577833-439D-466F-8EC2-07A464422ECC}"/>
    <dgm:cxn modelId="{564A5DEB-F888-4FBB-986F-D97A4203BAB4}" srcId="{7B5E1E86-C883-4093-8AEF-3209CF30FD87}" destId="{BF539DDA-6CA3-436D-9537-2A828B57BB9D}" srcOrd="1" destOrd="0" parTransId="{80CE4B18-3243-44E2-BF32-E2174A874AA6}" sibTransId="{9B91A37E-30B2-4AAB-8085-2E58FE353E44}"/>
    <dgm:cxn modelId="{94674DD7-1F13-4F3E-956A-405A823B4549}" type="presParOf" srcId="{CA559012-906E-4C26-B180-30B0356810FF}" destId="{146DBAF6-6C1F-4994-AAC6-8B26B71B5D99}" srcOrd="0" destOrd="0" presId="urn:microsoft.com/office/officeart/2008/layout/VerticalCurvedList"/>
    <dgm:cxn modelId="{07D5250A-C9F7-4D18-8BD2-33CBED6A1232}" type="presParOf" srcId="{146DBAF6-6C1F-4994-AAC6-8B26B71B5D99}" destId="{24F4153C-C5A6-4CBE-B9B2-B2117BEDCABF}" srcOrd="0" destOrd="0" presId="urn:microsoft.com/office/officeart/2008/layout/VerticalCurvedList"/>
    <dgm:cxn modelId="{7D59573D-DAE8-46EB-A51B-C242827E1CAD}" type="presParOf" srcId="{24F4153C-C5A6-4CBE-B9B2-B2117BEDCABF}" destId="{EB703F51-C384-46BE-AE19-635ABFC02B76}" srcOrd="0" destOrd="0" presId="urn:microsoft.com/office/officeart/2008/layout/VerticalCurvedList"/>
    <dgm:cxn modelId="{69C50850-9D68-4754-9744-70B0496A7A51}" type="presParOf" srcId="{24F4153C-C5A6-4CBE-B9B2-B2117BEDCABF}" destId="{D4748006-7FAC-4667-98E8-93383B6800A9}" srcOrd="1" destOrd="0" presId="urn:microsoft.com/office/officeart/2008/layout/VerticalCurvedList"/>
    <dgm:cxn modelId="{8303C535-B6DF-469F-A3E9-BF25B5684DE2}" type="presParOf" srcId="{24F4153C-C5A6-4CBE-B9B2-B2117BEDCABF}" destId="{B256E878-C83A-4940-8036-CCCB9FDBF79F}" srcOrd="2" destOrd="0" presId="urn:microsoft.com/office/officeart/2008/layout/VerticalCurvedList"/>
    <dgm:cxn modelId="{7863DE76-3C0F-4FD0-A5A3-B1D6AA211016}" type="presParOf" srcId="{24F4153C-C5A6-4CBE-B9B2-B2117BEDCABF}" destId="{47329ECC-84FC-45DA-8B2C-FC50540FE98E}" srcOrd="3" destOrd="0" presId="urn:microsoft.com/office/officeart/2008/layout/VerticalCurvedList"/>
    <dgm:cxn modelId="{7B90CB2E-6F9B-43CE-B87B-A0B8EFC8C332}" type="presParOf" srcId="{146DBAF6-6C1F-4994-AAC6-8B26B71B5D99}" destId="{627D5A71-2C0C-4525-B087-BFCAF5C1E080}" srcOrd="1" destOrd="0" presId="urn:microsoft.com/office/officeart/2008/layout/VerticalCurvedList"/>
    <dgm:cxn modelId="{B87116C0-1B47-4E05-BD80-8FDEAC01C51A}" type="presParOf" srcId="{146DBAF6-6C1F-4994-AAC6-8B26B71B5D99}" destId="{FF15AB6A-81B4-48BC-99E9-8C1A2DC56D9C}" srcOrd="2" destOrd="0" presId="urn:microsoft.com/office/officeart/2008/layout/VerticalCurvedList"/>
    <dgm:cxn modelId="{8C48C112-06D7-4055-AC8A-5140FA5E2804}" type="presParOf" srcId="{FF15AB6A-81B4-48BC-99E9-8C1A2DC56D9C}" destId="{67527477-06BE-4B88-9A03-316DD049AFE7}" srcOrd="0" destOrd="0" presId="urn:microsoft.com/office/officeart/2008/layout/VerticalCurvedList"/>
    <dgm:cxn modelId="{A2CBCE6F-B7F0-4CE4-B9DD-2C2480452E01}" type="presParOf" srcId="{146DBAF6-6C1F-4994-AAC6-8B26B71B5D99}" destId="{18FE5072-3DBC-475C-A222-1CDF2AB5E184}" srcOrd="3" destOrd="0" presId="urn:microsoft.com/office/officeart/2008/layout/VerticalCurvedList"/>
    <dgm:cxn modelId="{0F5C9D1C-60D6-484C-9089-470CC6BB42FC}" type="presParOf" srcId="{146DBAF6-6C1F-4994-AAC6-8B26B71B5D99}" destId="{7E6929C7-DA0B-4224-B3C6-34E50BD1B229}" srcOrd="4" destOrd="0" presId="urn:microsoft.com/office/officeart/2008/layout/VerticalCurvedList"/>
    <dgm:cxn modelId="{2D3FE53F-C4E1-41B9-A620-099C3536F606}" type="presParOf" srcId="{7E6929C7-DA0B-4224-B3C6-34E50BD1B229}" destId="{EFA9BF18-3A0E-4AD5-8F5D-D2F11BC6334D}" srcOrd="0" destOrd="0" presId="urn:microsoft.com/office/officeart/2008/layout/VerticalCurvedList"/>
    <dgm:cxn modelId="{914FC3D3-1D6F-4E3A-AB95-A245C88C742F}" type="presParOf" srcId="{146DBAF6-6C1F-4994-AAC6-8B26B71B5D99}" destId="{9C86D498-32A3-4283-A3A9-4A86656E5739}" srcOrd="5" destOrd="0" presId="urn:microsoft.com/office/officeart/2008/layout/VerticalCurvedList"/>
    <dgm:cxn modelId="{951553E7-2851-4E88-8F4B-0463FA9B0550}" type="presParOf" srcId="{146DBAF6-6C1F-4994-AAC6-8B26B71B5D99}" destId="{AE22A3CF-E9E6-4596-A0DA-C8549688612C}" srcOrd="6" destOrd="0" presId="urn:microsoft.com/office/officeart/2008/layout/VerticalCurvedList"/>
    <dgm:cxn modelId="{2EF6E0B8-70BD-41E2-BCDA-4E31B0C5A734}" type="presParOf" srcId="{AE22A3CF-E9E6-4596-A0DA-C8549688612C}" destId="{FCF73459-8F18-435E-94F0-7FFECD13556E}" srcOrd="0" destOrd="0" presId="urn:microsoft.com/office/officeart/2008/layout/VerticalCurvedList"/>
    <dgm:cxn modelId="{513823AF-C474-45ED-B2C2-FBE5785A135E}" type="presParOf" srcId="{146DBAF6-6C1F-4994-AAC6-8B26B71B5D99}" destId="{A33CE81E-6EAB-4ADE-AACE-1220B8CF8FBD}" srcOrd="7" destOrd="0" presId="urn:microsoft.com/office/officeart/2008/layout/VerticalCurvedList"/>
    <dgm:cxn modelId="{ABE7D101-2DCD-4158-A12E-66596B1997EC}" type="presParOf" srcId="{146DBAF6-6C1F-4994-AAC6-8B26B71B5D99}" destId="{D0FF8F90-65FE-4F41-99C5-BAFDCF9A5DA2}" srcOrd="8" destOrd="0" presId="urn:microsoft.com/office/officeart/2008/layout/VerticalCurvedList"/>
    <dgm:cxn modelId="{8BE2CF6C-B8C8-42EA-933E-DC22911CDE96}" type="presParOf" srcId="{D0FF8F90-65FE-4F41-99C5-BAFDCF9A5DA2}" destId="{68EEF029-A383-466D-8949-C5AC299A3070}" srcOrd="0" destOrd="0" presId="urn:microsoft.com/office/officeart/2008/layout/VerticalCurv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FECD00B-523F-437B-849D-8BD7AFD0D864}" type="doc">
      <dgm:prSet loTypeId="urn:microsoft.com/office/officeart/2008/layout/LinedList" loCatId="list" qsTypeId="urn:microsoft.com/office/officeart/2005/8/quickstyle/simple1" qsCatId="simple" csTypeId="urn:microsoft.com/office/officeart/2005/8/colors/accent5_1" csCatId="accent5" phldr="1"/>
      <dgm:spPr/>
      <dgm:t>
        <a:bodyPr/>
        <a:lstStyle/>
        <a:p>
          <a:endParaRPr lang="en-US"/>
        </a:p>
      </dgm:t>
    </dgm:pt>
    <dgm:pt modelId="{4F856ADA-6891-46A5-8BAA-17C677CEBB76}">
      <dgm:prSet custT="1"/>
      <dgm:spPr/>
      <dgm:t>
        <a:bodyPr/>
        <a:lstStyle/>
        <a:p>
          <a:r>
            <a:rPr lang="en-AU" sz="2800" err="1"/>
            <a:t>ValidatePattern</a:t>
          </a:r>
          <a:r>
            <a:rPr lang="en-AU" sz="2800"/>
            <a:t>(“</a:t>
          </a:r>
          <a:r>
            <a:rPr lang="en-AU" sz="2800" err="1"/>
            <a:t>RegEx</a:t>
          </a:r>
          <a:r>
            <a:rPr lang="en-AU" sz="2800"/>
            <a:t> Pattern”)</a:t>
          </a:r>
          <a:endParaRPr lang="en-US" sz="2800"/>
        </a:p>
      </dgm:t>
    </dgm:pt>
    <dgm:pt modelId="{9491FD8D-5C23-44A9-826F-C64BEF4C0616}" type="parTrans" cxnId="{FB2FBAC6-6A13-46EE-90FD-833A67398F76}">
      <dgm:prSet/>
      <dgm:spPr/>
      <dgm:t>
        <a:bodyPr/>
        <a:lstStyle/>
        <a:p>
          <a:endParaRPr lang="en-US" sz="2800"/>
        </a:p>
      </dgm:t>
    </dgm:pt>
    <dgm:pt modelId="{5FB3564E-E3C6-45E3-A727-1CBBF9024B1D}" type="sibTrans" cxnId="{FB2FBAC6-6A13-46EE-90FD-833A67398F76}">
      <dgm:prSet/>
      <dgm:spPr/>
      <dgm:t>
        <a:bodyPr/>
        <a:lstStyle/>
        <a:p>
          <a:endParaRPr lang="en-US" sz="2800"/>
        </a:p>
      </dgm:t>
    </dgm:pt>
    <dgm:pt modelId="{28122814-2FD4-4281-BEE0-3CA03D2D7255}">
      <dgm:prSet custT="1"/>
      <dgm:spPr/>
      <dgm:t>
        <a:bodyPr/>
        <a:lstStyle/>
        <a:p>
          <a:r>
            <a:rPr lang="en-AU" sz="2800" err="1"/>
            <a:t>ValidateScript</a:t>
          </a:r>
          <a:r>
            <a:rPr lang="en-AU" sz="2800"/>
            <a:t>({&lt;Script Block&gt;})</a:t>
          </a:r>
          <a:endParaRPr lang="en-US" sz="2800"/>
        </a:p>
      </dgm:t>
    </dgm:pt>
    <dgm:pt modelId="{FBB7BC61-E938-479C-905F-1FBBD36CF16A}" type="parTrans" cxnId="{A2D47C1A-A2E5-4C17-B20C-3AC298559CD6}">
      <dgm:prSet/>
      <dgm:spPr/>
      <dgm:t>
        <a:bodyPr/>
        <a:lstStyle/>
        <a:p>
          <a:endParaRPr lang="en-US" sz="2800"/>
        </a:p>
      </dgm:t>
    </dgm:pt>
    <dgm:pt modelId="{FDDB9825-CE54-401B-B66D-9B7D3B0A41D2}" type="sibTrans" cxnId="{A2D47C1A-A2E5-4C17-B20C-3AC298559CD6}">
      <dgm:prSet/>
      <dgm:spPr/>
      <dgm:t>
        <a:bodyPr/>
        <a:lstStyle/>
        <a:p>
          <a:endParaRPr lang="en-US" sz="2800"/>
        </a:p>
      </dgm:t>
    </dgm:pt>
    <dgm:pt modelId="{E83CA720-4B64-4814-8783-4FC8C996BD2F}" type="pres">
      <dgm:prSet presAssocID="{DFECD00B-523F-437B-849D-8BD7AFD0D864}" presName="vert0" presStyleCnt="0">
        <dgm:presLayoutVars>
          <dgm:dir/>
          <dgm:animOne val="branch"/>
          <dgm:animLvl val="lvl"/>
        </dgm:presLayoutVars>
      </dgm:prSet>
      <dgm:spPr/>
    </dgm:pt>
    <dgm:pt modelId="{F234D910-82B0-4B49-B4FF-3E8B3FCC921E}" type="pres">
      <dgm:prSet presAssocID="{4F856ADA-6891-46A5-8BAA-17C677CEBB76}" presName="thickLine" presStyleLbl="alignNode1" presStyleIdx="0" presStyleCnt="2"/>
      <dgm:spPr/>
    </dgm:pt>
    <dgm:pt modelId="{20BE175A-2BEA-4710-A892-B778BF6D4C0C}" type="pres">
      <dgm:prSet presAssocID="{4F856ADA-6891-46A5-8BAA-17C677CEBB76}" presName="horz1" presStyleCnt="0"/>
      <dgm:spPr/>
    </dgm:pt>
    <dgm:pt modelId="{BA0ED771-CB9D-4635-BBFD-07089361C9D6}" type="pres">
      <dgm:prSet presAssocID="{4F856ADA-6891-46A5-8BAA-17C677CEBB76}" presName="tx1" presStyleLbl="revTx" presStyleIdx="0" presStyleCnt="2"/>
      <dgm:spPr/>
    </dgm:pt>
    <dgm:pt modelId="{271A844E-9FD2-4162-A812-066E1D1B744D}" type="pres">
      <dgm:prSet presAssocID="{4F856ADA-6891-46A5-8BAA-17C677CEBB76}" presName="vert1" presStyleCnt="0"/>
      <dgm:spPr/>
    </dgm:pt>
    <dgm:pt modelId="{B73D4064-7AFE-40BA-AC18-86527978332B}" type="pres">
      <dgm:prSet presAssocID="{28122814-2FD4-4281-BEE0-3CA03D2D7255}" presName="thickLine" presStyleLbl="alignNode1" presStyleIdx="1" presStyleCnt="2"/>
      <dgm:spPr/>
    </dgm:pt>
    <dgm:pt modelId="{3E79FCE6-24D7-4984-B979-58F99BBEA846}" type="pres">
      <dgm:prSet presAssocID="{28122814-2FD4-4281-BEE0-3CA03D2D7255}" presName="horz1" presStyleCnt="0"/>
      <dgm:spPr/>
    </dgm:pt>
    <dgm:pt modelId="{67985A8C-EEA8-4276-B212-FC919DFDE219}" type="pres">
      <dgm:prSet presAssocID="{28122814-2FD4-4281-BEE0-3CA03D2D7255}" presName="tx1" presStyleLbl="revTx" presStyleIdx="1" presStyleCnt="2"/>
      <dgm:spPr/>
    </dgm:pt>
    <dgm:pt modelId="{D0CEDF66-4AC4-40C5-8609-036D9D33E35C}" type="pres">
      <dgm:prSet presAssocID="{28122814-2FD4-4281-BEE0-3CA03D2D7255}" presName="vert1" presStyleCnt="0"/>
      <dgm:spPr/>
    </dgm:pt>
  </dgm:ptLst>
  <dgm:cxnLst>
    <dgm:cxn modelId="{A2D47C1A-A2E5-4C17-B20C-3AC298559CD6}" srcId="{DFECD00B-523F-437B-849D-8BD7AFD0D864}" destId="{28122814-2FD4-4281-BEE0-3CA03D2D7255}" srcOrd="1" destOrd="0" parTransId="{FBB7BC61-E938-479C-905F-1FBBD36CF16A}" sibTransId="{FDDB9825-CE54-401B-B66D-9B7D3B0A41D2}"/>
    <dgm:cxn modelId="{06E79843-59BF-46D6-8205-74B67A501AE0}" type="presOf" srcId="{DFECD00B-523F-437B-849D-8BD7AFD0D864}" destId="{E83CA720-4B64-4814-8783-4FC8C996BD2F}" srcOrd="0" destOrd="0" presId="urn:microsoft.com/office/officeart/2008/layout/LinedList"/>
    <dgm:cxn modelId="{0738AF6A-83B0-4FAF-8DCB-6B59C77BE136}" type="presOf" srcId="{28122814-2FD4-4281-BEE0-3CA03D2D7255}" destId="{67985A8C-EEA8-4276-B212-FC919DFDE219}" srcOrd="0" destOrd="0" presId="urn:microsoft.com/office/officeart/2008/layout/LinedList"/>
    <dgm:cxn modelId="{9D633E98-0D0A-487D-A281-FBEBFDF1F376}" type="presOf" srcId="{4F856ADA-6891-46A5-8BAA-17C677CEBB76}" destId="{BA0ED771-CB9D-4635-BBFD-07089361C9D6}" srcOrd="0" destOrd="0" presId="urn:microsoft.com/office/officeart/2008/layout/LinedList"/>
    <dgm:cxn modelId="{FB2FBAC6-6A13-46EE-90FD-833A67398F76}" srcId="{DFECD00B-523F-437B-849D-8BD7AFD0D864}" destId="{4F856ADA-6891-46A5-8BAA-17C677CEBB76}" srcOrd="0" destOrd="0" parTransId="{9491FD8D-5C23-44A9-826F-C64BEF4C0616}" sibTransId="{5FB3564E-E3C6-45E3-A727-1CBBF9024B1D}"/>
    <dgm:cxn modelId="{FA9FFF56-26A2-4150-8EC3-A20DD84E943A}" type="presParOf" srcId="{E83CA720-4B64-4814-8783-4FC8C996BD2F}" destId="{F234D910-82B0-4B49-B4FF-3E8B3FCC921E}" srcOrd="0" destOrd="0" presId="urn:microsoft.com/office/officeart/2008/layout/LinedList"/>
    <dgm:cxn modelId="{F642CCD2-229F-424B-BBC2-BF2E13A3B668}" type="presParOf" srcId="{E83CA720-4B64-4814-8783-4FC8C996BD2F}" destId="{20BE175A-2BEA-4710-A892-B778BF6D4C0C}" srcOrd="1" destOrd="0" presId="urn:microsoft.com/office/officeart/2008/layout/LinedList"/>
    <dgm:cxn modelId="{E8FB9BA6-9175-4746-8A0D-EAD73DE4AB5B}" type="presParOf" srcId="{20BE175A-2BEA-4710-A892-B778BF6D4C0C}" destId="{BA0ED771-CB9D-4635-BBFD-07089361C9D6}" srcOrd="0" destOrd="0" presId="urn:microsoft.com/office/officeart/2008/layout/LinedList"/>
    <dgm:cxn modelId="{45A37154-8DE4-4E22-9CED-F225B39915FD}" type="presParOf" srcId="{20BE175A-2BEA-4710-A892-B778BF6D4C0C}" destId="{271A844E-9FD2-4162-A812-066E1D1B744D}" srcOrd="1" destOrd="0" presId="urn:microsoft.com/office/officeart/2008/layout/LinedList"/>
    <dgm:cxn modelId="{203EF464-3939-49AE-9191-64EA928C6F6F}" type="presParOf" srcId="{E83CA720-4B64-4814-8783-4FC8C996BD2F}" destId="{B73D4064-7AFE-40BA-AC18-86527978332B}" srcOrd="2" destOrd="0" presId="urn:microsoft.com/office/officeart/2008/layout/LinedList"/>
    <dgm:cxn modelId="{5AE7EB19-3E74-4AD4-9424-9FC750EFECC2}" type="presParOf" srcId="{E83CA720-4B64-4814-8783-4FC8C996BD2F}" destId="{3E79FCE6-24D7-4984-B979-58F99BBEA846}" srcOrd="3" destOrd="0" presId="urn:microsoft.com/office/officeart/2008/layout/LinedList"/>
    <dgm:cxn modelId="{871A67AE-9114-4B15-97B4-6B00E0E6CA34}" type="presParOf" srcId="{3E79FCE6-24D7-4984-B979-58F99BBEA846}" destId="{67985A8C-EEA8-4276-B212-FC919DFDE219}" srcOrd="0" destOrd="0" presId="urn:microsoft.com/office/officeart/2008/layout/LinedList"/>
    <dgm:cxn modelId="{64CADF49-C436-4D73-B350-2EDEF49EA67B}" type="presParOf" srcId="{3E79FCE6-24D7-4984-B979-58F99BBEA846}" destId="{D0CEDF66-4AC4-40C5-8609-036D9D33E35C}"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99943D7-791E-4C19-8017-3E46ED1EDA1C}" type="doc">
      <dgm:prSet loTypeId="urn:microsoft.com/office/officeart/2008/layout/VerticalCurvedList" loCatId="list" qsTypeId="urn:microsoft.com/office/officeart/2005/8/quickstyle/simple1" qsCatId="simple" csTypeId="urn:microsoft.com/office/officeart/2005/8/colors/accent5_1" csCatId="accent5" phldr="1"/>
      <dgm:spPr/>
      <dgm:t>
        <a:bodyPr/>
        <a:lstStyle/>
        <a:p>
          <a:endParaRPr lang="en-US"/>
        </a:p>
      </dgm:t>
    </dgm:pt>
    <dgm:pt modelId="{8B77AE10-0A82-439A-88A2-81F274D19E6E}">
      <dgm:prSet custT="1"/>
      <dgm:spPr/>
      <dgm:t>
        <a:bodyPr/>
        <a:lstStyle/>
        <a:p>
          <a:r>
            <a:rPr lang="en-US" sz="2200" b="1"/>
            <a:t>Regular Expressions </a:t>
          </a:r>
          <a:r>
            <a:rPr lang="en-US" sz="2200"/>
            <a:t>validate value</a:t>
          </a:r>
        </a:p>
      </dgm:t>
    </dgm:pt>
    <dgm:pt modelId="{5FE33A49-997E-4037-8875-03C044B372F4}" type="parTrans" cxnId="{8BC769F4-4FA5-4325-A9DA-E7B78BFB73F4}">
      <dgm:prSet/>
      <dgm:spPr/>
      <dgm:t>
        <a:bodyPr/>
        <a:lstStyle/>
        <a:p>
          <a:endParaRPr lang="en-US" sz="2200"/>
        </a:p>
      </dgm:t>
    </dgm:pt>
    <dgm:pt modelId="{A704CCC0-1EAA-47A4-97CE-5A3567139DBD}" type="sibTrans" cxnId="{8BC769F4-4FA5-4325-A9DA-E7B78BFB73F4}">
      <dgm:prSet/>
      <dgm:spPr/>
      <dgm:t>
        <a:bodyPr/>
        <a:lstStyle/>
        <a:p>
          <a:endParaRPr lang="en-US" sz="2200"/>
        </a:p>
      </dgm:t>
    </dgm:pt>
    <dgm:pt modelId="{5163C27E-08A2-4747-BE1D-02256A2DDADE}">
      <dgm:prSet custT="1"/>
      <dgm:spPr/>
      <dgm:t>
        <a:bodyPr/>
        <a:lstStyle/>
        <a:p>
          <a:r>
            <a:rPr lang="en-US" sz="2200" b="1"/>
            <a:t>Script block </a:t>
          </a:r>
          <a:r>
            <a:rPr lang="en-US" sz="2200"/>
            <a:t>validates incoming value</a:t>
          </a:r>
        </a:p>
      </dgm:t>
    </dgm:pt>
    <dgm:pt modelId="{D7DD4E07-3A54-435F-B116-C975F839506D}" type="parTrans" cxnId="{1B5645FB-E26A-4365-8CB6-2A4737EF8947}">
      <dgm:prSet/>
      <dgm:spPr/>
      <dgm:t>
        <a:bodyPr/>
        <a:lstStyle/>
        <a:p>
          <a:endParaRPr lang="en-US" sz="2200"/>
        </a:p>
      </dgm:t>
    </dgm:pt>
    <dgm:pt modelId="{BEAD9465-409C-4E63-BF77-BD5D2CF249AF}" type="sibTrans" cxnId="{1B5645FB-E26A-4365-8CB6-2A4737EF8947}">
      <dgm:prSet/>
      <dgm:spPr/>
      <dgm:t>
        <a:bodyPr/>
        <a:lstStyle/>
        <a:p>
          <a:endParaRPr lang="en-US" sz="2200"/>
        </a:p>
      </dgm:t>
    </dgm:pt>
    <dgm:pt modelId="{D9F7ABEB-8936-4763-A644-67BA087FB41D}">
      <dgm:prSet custT="1"/>
      <dgm:spPr/>
      <dgm:t>
        <a:bodyPr/>
        <a:lstStyle/>
        <a:p>
          <a:r>
            <a:rPr lang="en-US" sz="2200"/>
            <a:t>Script uses </a:t>
          </a:r>
          <a:r>
            <a:rPr lang="en-US" sz="2200" b="1"/>
            <a:t>$_</a:t>
          </a:r>
          <a:r>
            <a:rPr lang="en-US" sz="2200"/>
            <a:t> for incoming value</a:t>
          </a:r>
        </a:p>
      </dgm:t>
    </dgm:pt>
    <dgm:pt modelId="{36073DA3-F928-4658-83CA-0185018B293F}" type="parTrans" cxnId="{825F4DFB-C6D1-4F04-985F-91BFB32EF7DB}">
      <dgm:prSet/>
      <dgm:spPr/>
      <dgm:t>
        <a:bodyPr/>
        <a:lstStyle/>
        <a:p>
          <a:endParaRPr lang="en-US" sz="2200"/>
        </a:p>
      </dgm:t>
    </dgm:pt>
    <dgm:pt modelId="{AF0C2FE4-FFD6-4234-82BF-58CD35E35275}" type="sibTrans" cxnId="{825F4DFB-C6D1-4F04-985F-91BFB32EF7DB}">
      <dgm:prSet/>
      <dgm:spPr/>
      <dgm:t>
        <a:bodyPr/>
        <a:lstStyle/>
        <a:p>
          <a:endParaRPr lang="en-US" sz="2200"/>
        </a:p>
      </dgm:t>
    </dgm:pt>
    <dgm:pt modelId="{519C9A82-514B-43D3-A1EF-D9EC075A5DE5}">
      <dgm:prSet custT="1"/>
      <dgm:spPr/>
      <dgm:t>
        <a:bodyPr/>
        <a:lstStyle/>
        <a:p>
          <a:r>
            <a:rPr lang="en-US" sz="2200"/>
            <a:t>If result is </a:t>
          </a:r>
          <a:r>
            <a:rPr lang="en-US" sz="2200" b="1"/>
            <a:t>false</a:t>
          </a:r>
          <a:r>
            <a:rPr lang="en-US" sz="2200"/>
            <a:t>, an </a:t>
          </a:r>
          <a:r>
            <a:rPr lang="en-US" sz="2200" b="0"/>
            <a:t>error</a:t>
          </a:r>
          <a:r>
            <a:rPr lang="en-US" sz="2200"/>
            <a:t> is thrown</a:t>
          </a:r>
        </a:p>
      </dgm:t>
    </dgm:pt>
    <dgm:pt modelId="{0BD3A053-3C8C-4EB1-B159-0FDF178CDB9E}" type="parTrans" cxnId="{189C639E-7946-49A9-823D-6BEA16DC729C}">
      <dgm:prSet/>
      <dgm:spPr/>
      <dgm:t>
        <a:bodyPr/>
        <a:lstStyle/>
        <a:p>
          <a:endParaRPr lang="en-US" sz="2200"/>
        </a:p>
      </dgm:t>
    </dgm:pt>
    <dgm:pt modelId="{7075BAF0-4FD5-4B26-9FBC-B03DF702C855}" type="sibTrans" cxnId="{189C639E-7946-49A9-823D-6BEA16DC729C}">
      <dgm:prSet/>
      <dgm:spPr/>
      <dgm:t>
        <a:bodyPr/>
        <a:lstStyle/>
        <a:p>
          <a:endParaRPr lang="en-US" sz="2200"/>
        </a:p>
      </dgm:t>
    </dgm:pt>
    <dgm:pt modelId="{3E7786D0-2167-4A28-A38B-11FE388AE78F}" type="pres">
      <dgm:prSet presAssocID="{E99943D7-791E-4C19-8017-3E46ED1EDA1C}" presName="Name0" presStyleCnt="0">
        <dgm:presLayoutVars>
          <dgm:chMax val="7"/>
          <dgm:chPref val="7"/>
          <dgm:dir/>
        </dgm:presLayoutVars>
      </dgm:prSet>
      <dgm:spPr/>
    </dgm:pt>
    <dgm:pt modelId="{6BF5726E-AAF9-40EE-A5DA-44D733ABABD4}" type="pres">
      <dgm:prSet presAssocID="{E99943D7-791E-4C19-8017-3E46ED1EDA1C}" presName="Name1" presStyleCnt="0"/>
      <dgm:spPr/>
    </dgm:pt>
    <dgm:pt modelId="{E79A0808-232B-4DB8-8960-26C8516D1A3B}" type="pres">
      <dgm:prSet presAssocID="{E99943D7-791E-4C19-8017-3E46ED1EDA1C}" presName="cycle" presStyleCnt="0"/>
      <dgm:spPr/>
    </dgm:pt>
    <dgm:pt modelId="{AA696E79-D916-420E-9073-EF5BF0485748}" type="pres">
      <dgm:prSet presAssocID="{E99943D7-791E-4C19-8017-3E46ED1EDA1C}" presName="srcNode" presStyleLbl="node1" presStyleIdx="0" presStyleCnt="4"/>
      <dgm:spPr/>
    </dgm:pt>
    <dgm:pt modelId="{10F43377-9E57-4379-9DC1-364742CFB6FA}" type="pres">
      <dgm:prSet presAssocID="{E99943D7-791E-4C19-8017-3E46ED1EDA1C}" presName="conn" presStyleLbl="parChTrans1D2" presStyleIdx="0" presStyleCnt="1"/>
      <dgm:spPr/>
    </dgm:pt>
    <dgm:pt modelId="{8799F568-C654-4CAA-B08F-1714D7ED7ABD}" type="pres">
      <dgm:prSet presAssocID="{E99943D7-791E-4C19-8017-3E46ED1EDA1C}" presName="extraNode" presStyleLbl="node1" presStyleIdx="0" presStyleCnt="4"/>
      <dgm:spPr/>
    </dgm:pt>
    <dgm:pt modelId="{5AE0807D-2600-4809-BFE3-7991E59F6376}" type="pres">
      <dgm:prSet presAssocID="{E99943D7-791E-4C19-8017-3E46ED1EDA1C}" presName="dstNode" presStyleLbl="node1" presStyleIdx="0" presStyleCnt="4"/>
      <dgm:spPr/>
    </dgm:pt>
    <dgm:pt modelId="{89B28F6B-5026-4DE6-994E-72A913B73E79}" type="pres">
      <dgm:prSet presAssocID="{8B77AE10-0A82-439A-88A2-81F274D19E6E}" presName="text_1" presStyleLbl="node1" presStyleIdx="0" presStyleCnt="4">
        <dgm:presLayoutVars>
          <dgm:bulletEnabled val="1"/>
        </dgm:presLayoutVars>
      </dgm:prSet>
      <dgm:spPr/>
    </dgm:pt>
    <dgm:pt modelId="{FC84D695-69EB-4A7A-9D97-849E308B58AA}" type="pres">
      <dgm:prSet presAssocID="{8B77AE10-0A82-439A-88A2-81F274D19E6E}" presName="accent_1" presStyleCnt="0"/>
      <dgm:spPr/>
    </dgm:pt>
    <dgm:pt modelId="{6EC9A411-B7A9-4422-8C94-6C5F5F2DD986}" type="pres">
      <dgm:prSet presAssocID="{8B77AE10-0A82-439A-88A2-81F274D19E6E}" presName="accentRepeatNode" presStyleLbl="solidFgAcc1" presStyleIdx="0" presStyleCnt="4"/>
      <dgm:spPr/>
    </dgm:pt>
    <dgm:pt modelId="{0B2F868A-37D2-42FA-AE14-2464B85FC097}" type="pres">
      <dgm:prSet presAssocID="{5163C27E-08A2-4747-BE1D-02256A2DDADE}" presName="text_2" presStyleLbl="node1" presStyleIdx="1" presStyleCnt="4">
        <dgm:presLayoutVars>
          <dgm:bulletEnabled val="1"/>
        </dgm:presLayoutVars>
      </dgm:prSet>
      <dgm:spPr/>
    </dgm:pt>
    <dgm:pt modelId="{81F2E55D-7360-4CDC-87E5-49518DD8E44C}" type="pres">
      <dgm:prSet presAssocID="{5163C27E-08A2-4747-BE1D-02256A2DDADE}" presName="accent_2" presStyleCnt="0"/>
      <dgm:spPr/>
    </dgm:pt>
    <dgm:pt modelId="{9890F218-44E1-423B-A6C9-A89C6CBC1940}" type="pres">
      <dgm:prSet presAssocID="{5163C27E-08A2-4747-BE1D-02256A2DDADE}" presName="accentRepeatNode" presStyleLbl="solidFgAcc1" presStyleIdx="1" presStyleCnt="4"/>
      <dgm:spPr/>
    </dgm:pt>
    <dgm:pt modelId="{A97FE5EC-8000-4951-BF34-5D3B1FB479AF}" type="pres">
      <dgm:prSet presAssocID="{D9F7ABEB-8936-4763-A644-67BA087FB41D}" presName="text_3" presStyleLbl="node1" presStyleIdx="2" presStyleCnt="4">
        <dgm:presLayoutVars>
          <dgm:bulletEnabled val="1"/>
        </dgm:presLayoutVars>
      </dgm:prSet>
      <dgm:spPr/>
    </dgm:pt>
    <dgm:pt modelId="{B4A2420A-BE37-493E-A533-6475774CB59E}" type="pres">
      <dgm:prSet presAssocID="{D9F7ABEB-8936-4763-A644-67BA087FB41D}" presName="accent_3" presStyleCnt="0"/>
      <dgm:spPr/>
    </dgm:pt>
    <dgm:pt modelId="{184CA1E3-1E0D-44A0-A1A1-B3DBA87A8EBE}" type="pres">
      <dgm:prSet presAssocID="{D9F7ABEB-8936-4763-A644-67BA087FB41D}" presName="accentRepeatNode" presStyleLbl="solidFgAcc1" presStyleIdx="2" presStyleCnt="4"/>
      <dgm:spPr/>
    </dgm:pt>
    <dgm:pt modelId="{C2C8A6CF-3CF8-4BE4-A512-062494FFB3E7}" type="pres">
      <dgm:prSet presAssocID="{519C9A82-514B-43D3-A1EF-D9EC075A5DE5}" presName="text_4" presStyleLbl="node1" presStyleIdx="3" presStyleCnt="4">
        <dgm:presLayoutVars>
          <dgm:bulletEnabled val="1"/>
        </dgm:presLayoutVars>
      </dgm:prSet>
      <dgm:spPr/>
    </dgm:pt>
    <dgm:pt modelId="{239CDB84-E75B-4FFF-83F5-0F2101593ECE}" type="pres">
      <dgm:prSet presAssocID="{519C9A82-514B-43D3-A1EF-D9EC075A5DE5}" presName="accent_4" presStyleCnt="0"/>
      <dgm:spPr/>
    </dgm:pt>
    <dgm:pt modelId="{437BE103-7F1D-4DBF-B769-56929DBFB851}" type="pres">
      <dgm:prSet presAssocID="{519C9A82-514B-43D3-A1EF-D9EC075A5DE5}" presName="accentRepeatNode" presStyleLbl="solidFgAcc1" presStyleIdx="3" presStyleCnt="4"/>
      <dgm:spPr/>
    </dgm:pt>
  </dgm:ptLst>
  <dgm:cxnLst>
    <dgm:cxn modelId="{4F8FBE0B-E07B-447B-AE46-4A30F7BC0266}" type="presOf" srcId="{519C9A82-514B-43D3-A1EF-D9EC075A5DE5}" destId="{C2C8A6CF-3CF8-4BE4-A512-062494FFB3E7}" srcOrd="0" destOrd="0" presId="urn:microsoft.com/office/officeart/2008/layout/VerticalCurvedList"/>
    <dgm:cxn modelId="{C2449926-AD5B-443D-9053-FEDCCF311B6E}" type="presOf" srcId="{5163C27E-08A2-4747-BE1D-02256A2DDADE}" destId="{0B2F868A-37D2-42FA-AE14-2464B85FC097}" srcOrd="0" destOrd="0" presId="urn:microsoft.com/office/officeart/2008/layout/VerticalCurvedList"/>
    <dgm:cxn modelId="{F21F446B-9999-44DE-879A-83784D4E2276}" type="presOf" srcId="{D9F7ABEB-8936-4763-A644-67BA087FB41D}" destId="{A97FE5EC-8000-4951-BF34-5D3B1FB479AF}" srcOrd="0" destOrd="0" presId="urn:microsoft.com/office/officeart/2008/layout/VerticalCurvedList"/>
    <dgm:cxn modelId="{E95D9B7A-9632-4FEF-ABC8-10778E660456}" type="presOf" srcId="{8B77AE10-0A82-439A-88A2-81F274D19E6E}" destId="{89B28F6B-5026-4DE6-994E-72A913B73E79}" srcOrd="0" destOrd="0" presId="urn:microsoft.com/office/officeart/2008/layout/VerticalCurvedList"/>
    <dgm:cxn modelId="{CA8F167B-52B1-4B6C-9A97-4E26577F08A8}" type="presOf" srcId="{E99943D7-791E-4C19-8017-3E46ED1EDA1C}" destId="{3E7786D0-2167-4A28-A38B-11FE388AE78F}" srcOrd="0" destOrd="0" presId="urn:microsoft.com/office/officeart/2008/layout/VerticalCurvedList"/>
    <dgm:cxn modelId="{F6137F8D-247D-4055-A332-9953184AE102}" type="presOf" srcId="{A704CCC0-1EAA-47A4-97CE-5A3567139DBD}" destId="{10F43377-9E57-4379-9DC1-364742CFB6FA}" srcOrd="0" destOrd="0" presId="urn:microsoft.com/office/officeart/2008/layout/VerticalCurvedList"/>
    <dgm:cxn modelId="{189C639E-7946-49A9-823D-6BEA16DC729C}" srcId="{E99943D7-791E-4C19-8017-3E46ED1EDA1C}" destId="{519C9A82-514B-43D3-A1EF-D9EC075A5DE5}" srcOrd="3" destOrd="0" parTransId="{0BD3A053-3C8C-4EB1-B159-0FDF178CDB9E}" sibTransId="{7075BAF0-4FD5-4B26-9FBC-B03DF702C855}"/>
    <dgm:cxn modelId="{8BC769F4-4FA5-4325-A9DA-E7B78BFB73F4}" srcId="{E99943D7-791E-4C19-8017-3E46ED1EDA1C}" destId="{8B77AE10-0A82-439A-88A2-81F274D19E6E}" srcOrd="0" destOrd="0" parTransId="{5FE33A49-997E-4037-8875-03C044B372F4}" sibTransId="{A704CCC0-1EAA-47A4-97CE-5A3567139DBD}"/>
    <dgm:cxn modelId="{1B5645FB-E26A-4365-8CB6-2A4737EF8947}" srcId="{E99943D7-791E-4C19-8017-3E46ED1EDA1C}" destId="{5163C27E-08A2-4747-BE1D-02256A2DDADE}" srcOrd="1" destOrd="0" parTransId="{D7DD4E07-3A54-435F-B116-C975F839506D}" sibTransId="{BEAD9465-409C-4E63-BF77-BD5D2CF249AF}"/>
    <dgm:cxn modelId="{825F4DFB-C6D1-4F04-985F-91BFB32EF7DB}" srcId="{E99943D7-791E-4C19-8017-3E46ED1EDA1C}" destId="{D9F7ABEB-8936-4763-A644-67BA087FB41D}" srcOrd="2" destOrd="0" parTransId="{36073DA3-F928-4658-83CA-0185018B293F}" sibTransId="{AF0C2FE4-FFD6-4234-82BF-58CD35E35275}"/>
    <dgm:cxn modelId="{7116A996-E1D3-4484-9449-CD20C1FBB8B8}" type="presParOf" srcId="{3E7786D0-2167-4A28-A38B-11FE388AE78F}" destId="{6BF5726E-AAF9-40EE-A5DA-44D733ABABD4}" srcOrd="0" destOrd="0" presId="urn:microsoft.com/office/officeart/2008/layout/VerticalCurvedList"/>
    <dgm:cxn modelId="{35D383FC-9919-433B-8B98-90578EC81BD4}" type="presParOf" srcId="{6BF5726E-AAF9-40EE-A5DA-44D733ABABD4}" destId="{E79A0808-232B-4DB8-8960-26C8516D1A3B}" srcOrd="0" destOrd="0" presId="urn:microsoft.com/office/officeart/2008/layout/VerticalCurvedList"/>
    <dgm:cxn modelId="{78E22E00-3A43-404E-8C5C-CD671518E216}" type="presParOf" srcId="{E79A0808-232B-4DB8-8960-26C8516D1A3B}" destId="{AA696E79-D916-420E-9073-EF5BF0485748}" srcOrd="0" destOrd="0" presId="urn:microsoft.com/office/officeart/2008/layout/VerticalCurvedList"/>
    <dgm:cxn modelId="{87A5BC44-E914-44C1-A451-E775A5E542BB}" type="presParOf" srcId="{E79A0808-232B-4DB8-8960-26C8516D1A3B}" destId="{10F43377-9E57-4379-9DC1-364742CFB6FA}" srcOrd="1" destOrd="0" presId="urn:microsoft.com/office/officeart/2008/layout/VerticalCurvedList"/>
    <dgm:cxn modelId="{B05598CB-E721-4B54-8E23-EFB406C57DE1}" type="presParOf" srcId="{E79A0808-232B-4DB8-8960-26C8516D1A3B}" destId="{8799F568-C654-4CAA-B08F-1714D7ED7ABD}" srcOrd="2" destOrd="0" presId="urn:microsoft.com/office/officeart/2008/layout/VerticalCurvedList"/>
    <dgm:cxn modelId="{D3CD254F-F1ED-44C5-A113-E834E3B611D1}" type="presParOf" srcId="{E79A0808-232B-4DB8-8960-26C8516D1A3B}" destId="{5AE0807D-2600-4809-BFE3-7991E59F6376}" srcOrd="3" destOrd="0" presId="urn:microsoft.com/office/officeart/2008/layout/VerticalCurvedList"/>
    <dgm:cxn modelId="{3A1E1578-2A4F-4435-AAB5-CA25E1DDD6E4}" type="presParOf" srcId="{6BF5726E-AAF9-40EE-A5DA-44D733ABABD4}" destId="{89B28F6B-5026-4DE6-994E-72A913B73E79}" srcOrd="1" destOrd="0" presId="urn:microsoft.com/office/officeart/2008/layout/VerticalCurvedList"/>
    <dgm:cxn modelId="{B6706F2B-49B9-4929-9BF5-1E92D4D29F95}" type="presParOf" srcId="{6BF5726E-AAF9-40EE-A5DA-44D733ABABD4}" destId="{FC84D695-69EB-4A7A-9D97-849E308B58AA}" srcOrd="2" destOrd="0" presId="urn:microsoft.com/office/officeart/2008/layout/VerticalCurvedList"/>
    <dgm:cxn modelId="{DA8A376B-48D5-40FF-BC23-836B03BD5E5C}" type="presParOf" srcId="{FC84D695-69EB-4A7A-9D97-849E308B58AA}" destId="{6EC9A411-B7A9-4422-8C94-6C5F5F2DD986}" srcOrd="0" destOrd="0" presId="urn:microsoft.com/office/officeart/2008/layout/VerticalCurvedList"/>
    <dgm:cxn modelId="{089AABC8-6C78-4AFC-AFB0-5D42CA0AD41E}" type="presParOf" srcId="{6BF5726E-AAF9-40EE-A5DA-44D733ABABD4}" destId="{0B2F868A-37D2-42FA-AE14-2464B85FC097}" srcOrd="3" destOrd="0" presId="urn:microsoft.com/office/officeart/2008/layout/VerticalCurvedList"/>
    <dgm:cxn modelId="{570F5DDF-3023-4394-A9FB-89CBCFF2875C}" type="presParOf" srcId="{6BF5726E-AAF9-40EE-A5DA-44D733ABABD4}" destId="{81F2E55D-7360-4CDC-87E5-49518DD8E44C}" srcOrd="4" destOrd="0" presId="urn:microsoft.com/office/officeart/2008/layout/VerticalCurvedList"/>
    <dgm:cxn modelId="{34D89CE3-4D01-47E8-8456-C6F1DEDB27F4}" type="presParOf" srcId="{81F2E55D-7360-4CDC-87E5-49518DD8E44C}" destId="{9890F218-44E1-423B-A6C9-A89C6CBC1940}" srcOrd="0" destOrd="0" presId="urn:microsoft.com/office/officeart/2008/layout/VerticalCurvedList"/>
    <dgm:cxn modelId="{B21B3AA5-F794-409B-9057-CBBC04DAD7C9}" type="presParOf" srcId="{6BF5726E-AAF9-40EE-A5DA-44D733ABABD4}" destId="{A97FE5EC-8000-4951-BF34-5D3B1FB479AF}" srcOrd="5" destOrd="0" presId="urn:microsoft.com/office/officeart/2008/layout/VerticalCurvedList"/>
    <dgm:cxn modelId="{290DAFC1-2DB4-4B26-8245-C60D26E66B86}" type="presParOf" srcId="{6BF5726E-AAF9-40EE-A5DA-44D733ABABD4}" destId="{B4A2420A-BE37-493E-A533-6475774CB59E}" srcOrd="6" destOrd="0" presId="urn:microsoft.com/office/officeart/2008/layout/VerticalCurvedList"/>
    <dgm:cxn modelId="{13C85DCC-BA1D-48E2-B235-B91C67B8C821}" type="presParOf" srcId="{B4A2420A-BE37-493E-A533-6475774CB59E}" destId="{184CA1E3-1E0D-44A0-A1A1-B3DBA87A8EBE}" srcOrd="0" destOrd="0" presId="urn:microsoft.com/office/officeart/2008/layout/VerticalCurvedList"/>
    <dgm:cxn modelId="{289BC155-4705-4382-A195-AC2CFC621687}" type="presParOf" srcId="{6BF5726E-AAF9-40EE-A5DA-44D733ABABD4}" destId="{C2C8A6CF-3CF8-4BE4-A512-062494FFB3E7}" srcOrd="7" destOrd="0" presId="urn:microsoft.com/office/officeart/2008/layout/VerticalCurvedList"/>
    <dgm:cxn modelId="{FBF38B8B-D875-4041-B918-2A5E268B1E45}" type="presParOf" srcId="{6BF5726E-AAF9-40EE-A5DA-44D733ABABD4}" destId="{239CDB84-E75B-4FFF-83F5-0F2101593ECE}" srcOrd="8" destOrd="0" presId="urn:microsoft.com/office/officeart/2008/layout/VerticalCurvedList"/>
    <dgm:cxn modelId="{8DF8CF8D-4BE8-45EA-AE40-AC712FE6BB44}" type="presParOf" srcId="{239CDB84-E75B-4FFF-83F5-0F2101593ECE}" destId="{437BE103-7F1D-4DBF-B769-56929DBFB851}" srcOrd="0" destOrd="0" presId="urn:microsoft.com/office/officeart/2008/layout/VerticalCurv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FECD00B-523F-437B-849D-8BD7AFD0D86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F856ADA-6891-46A5-8BAA-17C677CEBB76}">
      <dgm:prSet custT="1"/>
      <dgm:spPr/>
      <dgm:t>
        <a:bodyPr/>
        <a:lstStyle/>
        <a:p>
          <a:r>
            <a:rPr lang="en-AU" sz="2800" err="1"/>
            <a:t>AllowNull</a:t>
          </a:r>
          <a:r>
            <a:rPr lang="en-AU" sz="2800"/>
            <a:t>()</a:t>
          </a:r>
          <a:endParaRPr lang="en-US" sz="2800"/>
        </a:p>
      </dgm:t>
    </dgm:pt>
    <dgm:pt modelId="{9491FD8D-5C23-44A9-826F-C64BEF4C0616}" type="parTrans" cxnId="{FB2FBAC6-6A13-46EE-90FD-833A67398F76}">
      <dgm:prSet/>
      <dgm:spPr/>
      <dgm:t>
        <a:bodyPr/>
        <a:lstStyle/>
        <a:p>
          <a:endParaRPr lang="en-US" sz="2800"/>
        </a:p>
      </dgm:t>
    </dgm:pt>
    <dgm:pt modelId="{5FB3564E-E3C6-45E3-A727-1CBBF9024B1D}" type="sibTrans" cxnId="{FB2FBAC6-6A13-46EE-90FD-833A67398F76}">
      <dgm:prSet/>
      <dgm:spPr/>
      <dgm:t>
        <a:bodyPr/>
        <a:lstStyle/>
        <a:p>
          <a:endParaRPr lang="en-US" sz="2800"/>
        </a:p>
      </dgm:t>
    </dgm:pt>
    <dgm:pt modelId="{11A7DAEF-A035-4463-A284-C3845B0E49E8}">
      <dgm:prSet custT="1"/>
      <dgm:spPr/>
      <dgm:t>
        <a:bodyPr/>
        <a:lstStyle/>
        <a:p>
          <a:r>
            <a:rPr lang="en-AU" sz="2800" err="1"/>
            <a:t>AllowEmptyString</a:t>
          </a:r>
          <a:r>
            <a:rPr lang="en-AU" sz="2800"/>
            <a:t>()</a:t>
          </a:r>
          <a:endParaRPr lang="en-US" sz="2800"/>
        </a:p>
      </dgm:t>
    </dgm:pt>
    <dgm:pt modelId="{EF9FA587-25EE-40C5-AAAE-ABE9A15B4DE2}" type="parTrans" cxnId="{126F2AF4-B5A0-4A1A-85AA-4F02267B9DBF}">
      <dgm:prSet/>
      <dgm:spPr/>
      <dgm:t>
        <a:bodyPr/>
        <a:lstStyle/>
        <a:p>
          <a:endParaRPr lang="en-US" sz="2800"/>
        </a:p>
      </dgm:t>
    </dgm:pt>
    <dgm:pt modelId="{901311A2-997E-425C-B556-17EA521A2E4E}" type="sibTrans" cxnId="{126F2AF4-B5A0-4A1A-85AA-4F02267B9DBF}">
      <dgm:prSet/>
      <dgm:spPr/>
      <dgm:t>
        <a:bodyPr/>
        <a:lstStyle/>
        <a:p>
          <a:endParaRPr lang="en-US" sz="2800"/>
        </a:p>
      </dgm:t>
    </dgm:pt>
    <dgm:pt modelId="{28122814-2FD4-4281-BEE0-3CA03D2D7255}">
      <dgm:prSet custT="1"/>
      <dgm:spPr/>
      <dgm:t>
        <a:bodyPr/>
        <a:lstStyle/>
        <a:p>
          <a:r>
            <a:rPr lang="en-AU" sz="2800" err="1"/>
            <a:t>AllowEmptyCollection</a:t>
          </a:r>
          <a:r>
            <a:rPr lang="en-AU" sz="2800"/>
            <a:t>()</a:t>
          </a:r>
          <a:endParaRPr lang="en-US" sz="2800"/>
        </a:p>
      </dgm:t>
    </dgm:pt>
    <dgm:pt modelId="{FBB7BC61-E938-479C-905F-1FBBD36CF16A}" type="parTrans" cxnId="{A2D47C1A-A2E5-4C17-B20C-3AC298559CD6}">
      <dgm:prSet/>
      <dgm:spPr/>
      <dgm:t>
        <a:bodyPr/>
        <a:lstStyle/>
        <a:p>
          <a:endParaRPr lang="en-US" sz="2800"/>
        </a:p>
      </dgm:t>
    </dgm:pt>
    <dgm:pt modelId="{FDDB9825-CE54-401B-B66D-9B7D3B0A41D2}" type="sibTrans" cxnId="{A2D47C1A-A2E5-4C17-B20C-3AC298559CD6}">
      <dgm:prSet/>
      <dgm:spPr/>
      <dgm:t>
        <a:bodyPr/>
        <a:lstStyle/>
        <a:p>
          <a:endParaRPr lang="en-US" sz="2800"/>
        </a:p>
      </dgm:t>
    </dgm:pt>
    <dgm:pt modelId="{9E0CC6C3-DEC8-4264-B5F3-7003B8625A7E}">
      <dgm:prSet custT="1"/>
      <dgm:spPr/>
      <dgm:t>
        <a:bodyPr/>
        <a:lstStyle/>
        <a:p>
          <a:r>
            <a:rPr lang="en-AU" sz="2800" err="1"/>
            <a:t>ValidateNotNull</a:t>
          </a:r>
          <a:r>
            <a:rPr lang="en-AU" sz="2800"/>
            <a:t>()</a:t>
          </a:r>
          <a:endParaRPr lang="en-US" sz="2800"/>
        </a:p>
      </dgm:t>
    </dgm:pt>
    <dgm:pt modelId="{9389BCE0-927A-46AA-935C-B0D82BFE08D1}" type="parTrans" cxnId="{7C603040-D38C-4E08-BFDD-3A02E32AC88B}">
      <dgm:prSet/>
      <dgm:spPr/>
      <dgm:t>
        <a:bodyPr/>
        <a:lstStyle/>
        <a:p>
          <a:endParaRPr lang="en-US" sz="2800"/>
        </a:p>
      </dgm:t>
    </dgm:pt>
    <dgm:pt modelId="{E98769E5-ED1D-42D8-94E8-B2BBEDF9EE38}" type="sibTrans" cxnId="{7C603040-D38C-4E08-BFDD-3A02E32AC88B}">
      <dgm:prSet/>
      <dgm:spPr/>
      <dgm:t>
        <a:bodyPr/>
        <a:lstStyle/>
        <a:p>
          <a:endParaRPr lang="en-US" sz="2800"/>
        </a:p>
      </dgm:t>
    </dgm:pt>
    <dgm:pt modelId="{B38E155C-2BA6-4112-A524-54A913C944B3}">
      <dgm:prSet custT="1"/>
      <dgm:spPr/>
      <dgm:t>
        <a:bodyPr/>
        <a:lstStyle/>
        <a:p>
          <a:r>
            <a:rPr lang="en-AU" sz="2800" err="1"/>
            <a:t>ValidateNotNullOrEmpty</a:t>
          </a:r>
          <a:r>
            <a:rPr lang="en-AU" sz="2800"/>
            <a:t>()</a:t>
          </a:r>
          <a:endParaRPr lang="en-US" sz="2800"/>
        </a:p>
      </dgm:t>
    </dgm:pt>
    <dgm:pt modelId="{11CABD1A-A94F-406F-B7B2-15B819113468}" type="parTrans" cxnId="{A3515DF6-53A1-4443-9F32-A5A4B93EE8A3}">
      <dgm:prSet/>
      <dgm:spPr/>
      <dgm:t>
        <a:bodyPr/>
        <a:lstStyle/>
        <a:p>
          <a:endParaRPr lang="en-US" sz="2800"/>
        </a:p>
      </dgm:t>
    </dgm:pt>
    <dgm:pt modelId="{F08177FF-3403-4097-98AC-18D5E4FD77B1}" type="sibTrans" cxnId="{A3515DF6-53A1-4443-9F32-A5A4B93EE8A3}">
      <dgm:prSet/>
      <dgm:spPr/>
      <dgm:t>
        <a:bodyPr/>
        <a:lstStyle/>
        <a:p>
          <a:endParaRPr lang="en-US" sz="2800"/>
        </a:p>
      </dgm:t>
    </dgm:pt>
    <dgm:pt modelId="{E83CA720-4B64-4814-8783-4FC8C996BD2F}" type="pres">
      <dgm:prSet presAssocID="{DFECD00B-523F-437B-849D-8BD7AFD0D864}" presName="vert0" presStyleCnt="0">
        <dgm:presLayoutVars>
          <dgm:dir/>
          <dgm:animOne val="branch"/>
          <dgm:animLvl val="lvl"/>
        </dgm:presLayoutVars>
      </dgm:prSet>
      <dgm:spPr/>
    </dgm:pt>
    <dgm:pt modelId="{F234D910-82B0-4B49-B4FF-3E8B3FCC921E}" type="pres">
      <dgm:prSet presAssocID="{4F856ADA-6891-46A5-8BAA-17C677CEBB76}" presName="thickLine" presStyleLbl="alignNode1" presStyleIdx="0" presStyleCnt="5"/>
      <dgm:spPr/>
    </dgm:pt>
    <dgm:pt modelId="{20BE175A-2BEA-4710-A892-B778BF6D4C0C}" type="pres">
      <dgm:prSet presAssocID="{4F856ADA-6891-46A5-8BAA-17C677CEBB76}" presName="horz1" presStyleCnt="0"/>
      <dgm:spPr/>
    </dgm:pt>
    <dgm:pt modelId="{BA0ED771-CB9D-4635-BBFD-07089361C9D6}" type="pres">
      <dgm:prSet presAssocID="{4F856ADA-6891-46A5-8BAA-17C677CEBB76}" presName="tx1" presStyleLbl="revTx" presStyleIdx="0" presStyleCnt="5"/>
      <dgm:spPr/>
    </dgm:pt>
    <dgm:pt modelId="{271A844E-9FD2-4162-A812-066E1D1B744D}" type="pres">
      <dgm:prSet presAssocID="{4F856ADA-6891-46A5-8BAA-17C677CEBB76}" presName="vert1" presStyleCnt="0"/>
      <dgm:spPr/>
    </dgm:pt>
    <dgm:pt modelId="{1F202CC6-A0D7-457D-A06D-22BFBBFA886E}" type="pres">
      <dgm:prSet presAssocID="{11A7DAEF-A035-4463-A284-C3845B0E49E8}" presName="thickLine" presStyleLbl="alignNode1" presStyleIdx="1" presStyleCnt="5"/>
      <dgm:spPr/>
    </dgm:pt>
    <dgm:pt modelId="{CE099CF7-1C33-4FD1-BFB2-F1603C2C0088}" type="pres">
      <dgm:prSet presAssocID="{11A7DAEF-A035-4463-A284-C3845B0E49E8}" presName="horz1" presStyleCnt="0"/>
      <dgm:spPr/>
    </dgm:pt>
    <dgm:pt modelId="{EA88495C-BE24-4A96-9D9C-D398B21D7EF8}" type="pres">
      <dgm:prSet presAssocID="{11A7DAEF-A035-4463-A284-C3845B0E49E8}" presName="tx1" presStyleLbl="revTx" presStyleIdx="1" presStyleCnt="5"/>
      <dgm:spPr/>
    </dgm:pt>
    <dgm:pt modelId="{FEDE5075-2311-4ED0-AE59-72C61617AC85}" type="pres">
      <dgm:prSet presAssocID="{11A7DAEF-A035-4463-A284-C3845B0E49E8}" presName="vert1" presStyleCnt="0"/>
      <dgm:spPr/>
    </dgm:pt>
    <dgm:pt modelId="{B73D4064-7AFE-40BA-AC18-86527978332B}" type="pres">
      <dgm:prSet presAssocID="{28122814-2FD4-4281-BEE0-3CA03D2D7255}" presName="thickLine" presStyleLbl="alignNode1" presStyleIdx="2" presStyleCnt="5"/>
      <dgm:spPr/>
    </dgm:pt>
    <dgm:pt modelId="{3E79FCE6-24D7-4984-B979-58F99BBEA846}" type="pres">
      <dgm:prSet presAssocID="{28122814-2FD4-4281-BEE0-3CA03D2D7255}" presName="horz1" presStyleCnt="0"/>
      <dgm:spPr/>
    </dgm:pt>
    <dgm:pt modelId="{67985A8C-EEA8-4276-B212-FC919DFDE219}" type="pres">
      <dgm:prSet presAssocID="{28122814-2FD4-4281-BEE0-3CA03D2D7255}" presName="tx1" presStyleLbl="revTx" presStyleIdx="2" presStyleCnt="5"/>
      <dgm:spPr/>
    </dgm:pt>
    <dgm:pt modelId="{D0CEDF66-4AC4-40C5-8609-036D9D33E35C}" type="pres">
      <dgm:prSet presAssocID="{28122814-2FD4-4281-BEE0-3CA03D2D7255}" presName="vert1" presStyleCnt="0"/>
      <dgm:spPr/>
    </dgm:pt>
    <dgm:pt modelId="{6AACBD90-94C4-47BD-A1D5-C6A8391537CA}" type="pres">
      <dgm:prSet presAssocID="{9E0CC6C3-DEC8-4264-B5F3-7003B8625A7E}" presName="thickLine" presStyleLbl="alignNode1" presStyleIdx="3" presStyleCnt="5"/>
      <dgm:spPr/>
    </dgm:pt>
    <dgm:pt modelId="{B9414BB9-F000-4EBB-A129-585AA42380DD}" type="pres">
      <dgm:prSet presAssocID="{9E0CC6C3-DEC8-4264-B5F3-7003B8625A7E}" presName="horz1" presStyleCnt="0"/>
      <dgm:spPr/>
    </dgm:pt>
    <dgm:pt modelId="{E8068326-E0C9-48A0-8ACB-70F26FAB5368}" type="pres">
      <dgm:prSet presAssocID="{9E0CC6C3-DEC8-4264-B5F3-7003B8625A7E}" presName="tx1" presStyleLbl="revTx" presStyleIdx="3" presStyleCnt="5"/>
      <dgm:spPr/>
    </dgm:pt>
    <dgm:pt modelId="{5824FDA7-4DB3-4B78-80F7-C2936872E7DA}" type="pres">
      <dgm:prSet presAssocID="{9E0CC6C3-DEC8-4264-B5F3-7003B8625A7E}" presName="vert1" presStyleCnt="0"/>
      <dgm:spPr/>
    </dgm:pt>
    <dgm:pt modelId="{73C364D5-1453-4C86-8C21-915745DA1173}" type="pres">
      <dgm:prSet presAssocID="{B38E155C-2BA6-4112-A524-54A913C944B3}" presName="thickLine" presStyleLbl="alignNode1" presStyleIdx="4" presStyleCnt="5"/>
      <dgm:spPr/>
    </dgm:pt>
    <dgm:pt modelId="{249AD60B-FC08-4A2D-BF52-ADD73C9C43FA}" type="pres">
      <dgm:prSet presAssocID="{B38E155C-2BA6-4112-A524-54A913C944B3}" presName="horz1" presStyleCnt="0"/>
      <dgm:spPr/>
    </dgm:pt>
    <dgm:pt modelId="{EA29BA8D-4D98-4926-B322-05E00B02EA18}" type="pres">
      <dgm:prSet presAssocID="{B38E155C-2BA6-4112-A524-54A913C944B3}" presName="tx1" presStyleLbl="revTx" presStyleIdx="4" presStyleCnt="5"/>
      <dgm:spPr/>
    </dgm:pt>
    <dgm:pt modelId="{A9C0E109-69FB-4899-8378-BFDD9E22420B}" type="pres">
      <dgm:prSet presAssocID="{B38E155C-2BA6-4112-A524-54A913C944B3}" presName="vert1" presStyleCnt="0"/>
      <dgm:spPr/>
    </dgm:pt>
  </dgm:ptLst>
  <dgm:cxnLst>
    <dgm:cxn modelId="{A2D47C1A-A2E5-4C17-B20C-3AC298559CD6}" srcId="{DFECD00B-523F-437B-849D-8BD7AFD0D864}" destId="{28122814-2FD4-4281-BEE0-3CA03D2D7255}" srcOrd="2" destOrd="0" parTransId="{FBB7BC61-E938-479C-905F-1FBBD36CF16A}" sibTransId="{FDDB9825-CE54-401B-B66D-9B7D3B0A41D2}"/>
    <dgm:cxn modelId="{7C110C25-87D8-4475-BBC1-937482C03475}" type="presOf" srcId="{11A7DAEF-A035-4463-A284-C3845B0E49E8}" destId="{EA88495C-BE24-4A96-9D9C-D398B21D7EF8}" srcOrd="0" destOrd="0" presId="urn:microsoft.com/office/officeart/2008/layout/LinedList"/>
    <dgm:cxn modelId="{EC6EA82F-058B-4E70-A8CC-29392E434B46}" type="presOf" srcId="{B38E155C-2BA6-4112-A524-54A913C944B3}" destId="{EA29BA8D-4D98-4926-B322-05E00B02EA18}" srcOrd="0" destOrd="0" presId="urn:microsoft.com/office/officeart/2008/layout/LinedList"/>
    <dgm:cxn modelId="{7C603040-D38C-4E08-BFDD-3A02E32AC88B}" srcId="{DFECD00B-523F-437B-849D-8BD7AFD0D864}" destId="{9E0CC6C3-DEC8-4264-B5F3-7003B8625A7E}" srcOrd="3" destOrd="0" parTransId="{9389BCE0-927A-46AA-935C-B0D82BFE08D1}" sibTransId="{E98769E5-ED1D-42D8-94E8-B2BBEDF9EE38}"/>
    <dgm:cxn modelId="{06E79843-59BF-46D6-8205-74B67A501AE0}" type="presOf" srcId="{DFECD00B-523F-437B-849D-8BD7AFD0D864}" destId="{E83CA720-4B64-4814-8783-4FC8C996BD2F}" srcOrd="0" destOrd="0" presId="urn:microsoft.com/office/officeart/2008/layout/LinedList"/>
    <dgm:cxn modelId="{0738AF6A-83B0-4FAF-8DCB-6B59C77BE136}" type="presOf" srcId="{28122814-2FD4-4281-BEE0-3CA03D2D7255}" destId="{67985A8C-EEA8-4276-B212-FC919DFDE219}" srcOrd="0" destOrd="0" presId="urn:microsoft.com/office/officeart/2008/layout/LinedList"/>
    <dgm:cxn modelId="{9D633E98-0D0A-487D-A281-FBEBFDF1F376}" type="presOf" srcId="{4F856ADA-6891-46A5-8BAA-17C677CEBB76}" destId="{BA0ED771-CB9D-4635-BBFD-07089361C9D6}" srcOrd="0" destOrd="0" presId="urn:microsoft.com/office/officeart/2008/layout/LinedList"/>
    <dgm:cxn modelId="{FB2FBAC6-6A13-46EE-90FD-833A67398F76}" srcId="{DFECD00B-523F-437B-849D-8BD7AFD0D864}" destId="{4F856ADA-6891-46A5-8BAA-17C677CEBB76}" srcOrd="0" destOrd="0" parTransId="{9491FD8D-5C23-44A9-826F-C64BEF4C0616}" sibTransId="{5FB3564E-E3C6-45E3-A727-1CBBF9024B1D}"/>
    <dgm:cxn modelId="{1A6677EF-051D-4901-B8CE-6F6E9DFC515D}" type="presOf" srcId="{9E0CC6C3-DEC8-4264-B5F3-7003B8625A7E}" destId="{E8068326-E0C9-48A0-8ACB-70F26FAB5368}" srcOrd="0" destOrd="0" presId="urn:microsoft.com/office/officeart/2008/layout/LinedList"/>
    <dgm:cxn modelId="{126F2AF4-B5A0-4A1A-85AA-4F02267B9DBF}" srcId="{DFECD00B-523F-437B-849D-8BD7AFD0D864}" destId="{11A7DAEF-A035-4463-A284-C3845B0E49E8}" srcOrd="1" destOrd="0" parTransId="{EF9FA587-25EE-40C5-AAAE-ABE9A15B4DE2}" sibTransId="{901311A2-997E-425C-B556-17EA521A2E4E}"/>
    <dgm:cxn modelId="{A3515DF6-53A1-4443-9F32-A5A4B93EE8A3}" srcId="{DFECD00B-523F-437B-849D-8BD7AFD0D864}" destId="{B38E155C-2BA6-4112-A524-54A913C944B3}" srcOrd="4" destOrd="0" parTransId="{11CABD1A-A94F-406F-B7B2-15B819113468}" sibTransId="{F08177FF-3403-4097-98AC-18D5E4FD77B1}"/>
    <dgm:cxn modelId="{FA9FFF56-26A2-4150-8EC3-A20DD84E943A}" type="presParOf" srcId="{E83CA720-4B64-4814-8783-4FC8C996BD2F}" destId="{F234D910-82B0-4B49-B4FF-3E8B3FCC921E}" srcOrd="0" destOrd="0" presId="urn:microsoft.com/office/officeart/2008/layout/LinedList"/>
    <dgm:cxn modelId="{F642CCD2-229F-424B-BBC2-BF2E13A3B668}" type="presParOf" srcId="{E83CA720-4B64-4814-8783-4FC8C996BD2F}" destId="{20BE175A-2BEA-4710-A892-B778BF6D4C0C}" srcOrd="1" destOrd="0" presId="urn:microsoft.com/office/officeart/2008/layout/LinedList"/>
    <dgm:cxn modelId="{E8FB9BA6-9175-4746-8A0D-EAD73DE4AB5B}" type="presParOf" srcId="{20BE175A-2BEA-4710-A892-B778BF6D4C0C}" destId="{BA0ED771-CB9D-4635-BBFD-07089361C9D6}" srcOrd="0" destOrd="0" presId="urn:microsoft.com/office/officeart/2008/layout/LinedList"/>
    <dgm:cxn modelId="{45A37154-8DE4-4E22-9CED-F225B39915FD}" type="presParOf" srcId="{20BE175A-2BEA-4710-A892-B778BF6D4C0C}" destId="{271A844E-9FD2-4162-A812-066E1D1B744D}" srcOrd="1" destOrd="0" presId="urn:microsoft.com/office/officeart/2008/layout/LinedList"/>
    <dgm:cxn modelId="{EE101C1E-464F-44A1-9E28-D07F56137627}" type="presParOf" srcId="{E83CA720-4B64-4814-8783-4FC8C996BD2F}" destId="{1F202CC6-A0D7-457D-A06D-22BFBBFA886E}" srcOrd="2" destOrd="0" presId="urn:microsoft.com/office/officeart/2008/layout/LinedList"/>
    <dgm:cxn modelId="{3194BBB2-AA0C-4E06-8098-743C31392C95}" type="presParOf" srcId="{E83CA720-4B64-4814-8783-4FC8C996BD2F}" destId="{CE099CF7-1C33-4FD1-BFB2-F1603C2C0088}" srcOrd="3" destOrd="0" presId="urn:microsoft.com/office/officeart/2008/layout/LinedList"/>
    <dgm:cxn modelId="{5A62B0F2-6DB8-4B0C-960C-88B3219732FC}" type="presParOf" srcId="{CE099CF7-1C33-4FD1-BFB2-F1603C2C0088}" destId="{EA88495C-BE24-4A96-9D9C-D398B21D7EF8}" srcOrd="0" destOrd="0" presId="urn:microsoft.com/office/officeart/2008/layout/LinedList"/>
    <dgm:cxn modelId="{FA7C2F3B-7A96-4FF5-AC8A-46D8E89719B0}" type="presParOf" srcId="{CE099CF7-1C33-4FD1-BFB2-F1603C2C0088}" destId="{FEDE5075-2311-4ED0-AE59-72C61617AC85}" srcOrd="1" destOrd="0" presId="urn:microsoft.com/office/officeart/2008/layout/LinedList"/>
    <dgm:cxn modelId="{203EF464-3939-49AE-9191-64EA928C6F6F}" type="presParOf" srcId="{E83CA720-4B64-4814-8783-4FC8C996BD2F}" destId="{B73D4064-7AFE-40BA-AC18-86527978332B}" srcOrd="4" destOrd="0" presId="urn:microsoft.com/office/officeart/2008/layout/LinedList"/>
    <dgm:cxn modelId="{5AE7EB19-3E74-4AD4-9424-9FC750EFECC2}" type="presParOf" srcId="{E83CA720-4B64-4814-8783-4FC8C996BD2F}" destId="{3E79FCE6-24D7-4984-B979-58F99BBEA846}" srcOrd="5" destOrd="0" presId="urn:microsoft.com/office/officeart/2008/layout/LinedList"/>
    <dgm:cxn modelId="{871A67AE-9114-4B15-97B4-6B00E0E6CA34}" type="presParOf" srcId="{3E79FCE6-24D7-4984-B979-58F99BBEA846}" destId="{67985A8C-EEA8-4276-B212-FC919DFDE219}" srcOrd="0" destOrd="0" presId="urn:microsoft.com/office/officeart/2008/layout/LinedList"/>
    <dgm:cxn modelId="{64CADF49-C436-4D73-B350-2EDEF49EA67B}" type="presParOf" srcId="{3E79FCE6-24D7-4984-B979-58F99BBEA846}" destId="{D0CEDF66-4AC4-40C5-8609-036D9D33E35C}" srcOrd="1" destOrd="0" presId="urn:microsoft.com/office/officeart/2008/layout/LinedList"/>
    <dgm:cxn modelId="{6055D538-8049-4298-8293-D52C8C972AAC}" type="presParOf" srcId="{E83CA720-4B64-4814-8783-4FC8C996BD2F}" destId="{6AACBD90-94C4-47BD-A1D5-C6A8391537CA}" srcOrd="6" destOrd="0" presId="urn:microsoft.com/office/officeart/2008/layout/LinedList"/>
    <dgm:cxn modelId="{D56AD5F6-EFA0-4188-8162-2A38B5C46B4C}" type="presParOf" srcId="{E83CA720-4B64-4814-8783-4FC8C996BD2F}" destId="{B9414BB9-F000-4EBB-A129-585AA42380DD}" srcOrd="7" destOrd="0" presId="urn:microsoft.com/office/officeart/2008/layout/LinedList"/>
    <dgm:cxn modelId="{ECE3AA89-C175-45FF-8D42-5887959421A7}" type="presParOf" srcId="{B9414BB9-F000-4EBB-A129-585AA42380DD}" destId="{E8068326-E0C9-48A0-8ACB-70F26FAB5368}" srcOrd="0" destOrd="0" presId="urn:microsoft.com/office/officeart/2008/layout/LinedList"/>
    <dgm:cxn modelId="{503F2BDA-EF22-4986-B761-F22D1137BDAE}" type="presParOf" srcId="{B9414BB9-F000-4EBB-A129-585AA42380DD}" destId="{5824FDA7-4DB3-4B78-80F7-C2936872E7DA}" srcOrd="1" destOrd="0" presId="urn:microsoft.com/office/officeart/2008/layout/LinedList"/>
    <dgm:cxn modelId="{4EF12F60-6092-4B4E-A919-CA9DD205C33F}" type="presParOf" srcId="{E83CA720-4B64-4814-8783-4FC8C996BD2F}" destId="{73C364D5-1453-4C86-8C21-915745DA1173}" srcOrd="8" destOrd="0" presId="urn:microsoft.com/office/officeart/2008/layout/LinedList"/>
    <dgm:cxn modelId="{E14AD8AF-C76A-4E3E-8869-77ABA24E0BCF}" type="presParOf" srcId="{E83CA720-4B64-4814-8783-4FC8C996BD2F}" destId="{249AD60B-FC08-4A2D-BF52-ADD73C9C43FA}" srcOrd="9" destOrd="0" presId="urn:microsoft.com/office/officeart/2008/layout/LinedList"/>
    <dgm:cxn modelId="{DD292278-4D27-49AD-9EB3-009574F3F27B}" type="presParOf" srcId="{249AD60B-FC08-4A2D-BF52-ADD73C9C43FA}" destId="{EA29BA8D-4D98-4926-B322-05E00B02EA18}" srcOrd="0" destOrd="0" presId="urn:microsoft.com/office/officeart/2008/layout/LinedList"/>
    <dgm:cxn modelId="{F4B44E84-1D9C-4F7E-9A7D-4FC53F24A55C}" type="presParOf" srcId="{249AD60B-FC08-4A2D-BF52-ADD73C9C43FA}" destId="{A9C0E109-69FB-4899-8378-BFDD9E22420B}"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0EF254-881F-4517-9500-0C391476CC4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C803847-8CEF-408A-9464-E5802369F038}">
      <dgm:prSet custT="1"/>
      <dgm:spPr/>
      <dgm:t>
        <a:bodyPr/>
        <a:lstStyle/>
        <a:p>
          <a:r>
            <a:rPr lang="en-US" sz="2400" baseline="0"/>
            <a:t>Mandatory</a:t>
          </a:r>
          <a:endParaRPr lang="en-US" sz="2400"/>
        </a:p>
      </dgm:t>
    </dgm:pt>
    <dgm:pt modelId="{FF9F94D4-1CE5-4DB7-82FA-459AAFDDF6D2}" type="parTrans" cxnId="{42CD0439-A791-4FFD-98D1-1E157A2D35A0}">
      <dgm:prSet/>
      <dgm:spPr/>
      <dgm:t>
        <a:bodyPr/>
        <a:lstStyle/>
        <a:p>
          <a:endParaRPr lang="en-US" sz="2400"/>
        </a:p>
      </dgm:t>
    </dgm:pt>
    <dgm:pt modelId="{5A43ACDC-3BFB-445C-9A54-6C256FCE6BA8}" type="sibTrans" cxnId="{42CD0439-A791-4FFD-98D1-1E157A2D35A0}">
      <dgm:prSet/>
      <dgm:spPr/>
      <dgm:t>
        <a:bodyPr/>
        <a:lstStyle/>
        <a:p>
          <a:endParaRPr lang="en-US" sz="2400"/>
        </a:p>
      </dgm:t>
    </dgm:pt>
    <dgm:pt modelId="{5091F423-3B6E-4CF1-91C1-70010D3B98D5}">
      <dgm:prSet custT="1"/>
      <dgm:spPr/>
      <dgm:t>
        <a:bodyPr/>
        <a:lstStyle/>
        <a:p>
          <a:r>
            <a:rPr lang="en-US" sz="2400" baseline="0"/>
            <a:t>Position</a:t>
          </a:r>
          <a:endParaRPr lang="en-US" sz="2400"/>
        </a:p>
      </dgm:t>
    </dgm:pt>
    <dgm:pt modelId="{B5B8CC14-2D9A-469B-843E-BE009EF12826}" type="parTrans" cxnId="{33A964F0-E1A1-45C9-AF13-F081874ACF83}">
      <dgm:prSet/>
      <dgm:spPr/>
      <dgm:t>
        <a:bodyPr/>
        <a:lstStyle/>
        <a:p>
          <a:endParaRPr lang="en-US" sz="2400"/>
        </a:p>
      </dgm:t>
    </dgm:pt>
    <dgm:pt modelId="{41A00947-F09B-4D15-A557-1216611837B2}" type="sibTrans" cxnId="{33A964F0-E1A1-45C9-AF13-F081874ACF83}">
      <dgm:prSet/>
      <dgm:spPr/>
      <dgm:t>
        <a:bodyPr/>
        <a:lstStyle/>
        <a:p>
          <a:endParaRPr lang="en-US" sz="2400"/>
        </a:p>
      </dgm:t>
    </dgm:pt>
    <dgm:pt modelId="{B8C15EA6-890C-456B-BCEE-ED5AB8D38136}">
      <dgm:prSet custT="1"/>
      <dgm:spPr/>
      <dgm:t>
        <a:bodyPr/>
        <a:lstStyle/>
        <a:p>
          <a:r>
            <a:rPr lang="en-US" sz="2400" baseline="0" err="1"/>
            <a:t>ValueFromPipeline</a:t>
          </a:r>
          <a:endParaRPr lang="en-US" sz="2400"/>
        </a:p>
      </dgm:t>
    </dgm:pt>
    <dgm:pt modelId="{0C31E6AF-E7A4-433A-8738-A5FCF1245D32}" type="parTrans" cxnId="{6672BF65-244E-4754-8C94-FDD732DEAAC6}">
      <dgm:prSet/>
      <dgm:spPr/>
      <dgm:t>
        <a:bodyPr/>
        <a:lstStyle/>
        <a:p>
          <a:endParaRPr lang="en-US" sz="2400"/>
        </a:p>
      </dgm:t>
    </dgm:pt>
    <dgm:pt modelId="{423D20CD-050D-489A-9594-534B49CDD355}" type="sibTrans" cxnId="{6672BF65-244E-4754-8C94-FDD732DEAAC6}">
      <dgm:prSet/>
      <dgm:spPr/>
      <dgm:t>
        <a:bodyPr/>
        <a:lstStyle/>
        <a:p>
          <a:endParaRPr lang="en-US" sz="2400"/>
        </a:p>
      </dgm:t>
    </dgm:pt>
    <dgm:pt modelId="{DF1CDCFB-72CC-441B-B2C0-2048B09555B6}">
      <dgm:prSet custT="1"/>
      <dgm:spPr/>
      <dgm:t>
        <a:bodyPr/>
        <a:lstStyle/>
        <a:p>
          <a:r>
            <a:rPr lang="en-US" sz="2400" baseline="0" err="1"/>
            <a:t>ValueFromPipelineByPropertyName</a:t>
          </a:r>
          <a:endParaRPr lang="en-US" sz="2400"/>
        </a:p>
      </dgm:t>
    </dgm:pt>
    <dgm:pt modelId="{676EA176-E302-4EF7-9F29-132248340CF7}" type="parTrans" cxnId="{FA93673A-BFF6-482E-8F44-23115F8DDC0D}">
      <dgm:prSet/>
      <dgm:spPr/>
      <dgm:t>
        <a:bodyPr/>
        <a:lstStyle/>
        <a:p>
          <a:endParaRPr lang="en-US" sz="2400"/>
        </a:p>
      </dgm:t>
    </dgm:pt>
    <dgm:pt modelId="{C523260E-B29D-4752-81CA-F31F81EBA14E}" type="sibTrans" cxnId="{FA93673A-BFF6-482E-8F44-23115F8DDC0D}">
      <dgm:prSet/>
      <dgm:spPr/>
      <dgm:t>
        <a:bodyPr/>
        <a:lstStyle/>
        <a:p>
          <a:endParaRPr lang="en-US" sz="2400"/>
        </a:p>
      </dgm:t>
    </dgm:pt>
    <dgm:pt modelId="{DBF3D5E1-6704-4437-96F4-6088FFC17F8E}">
      <dgm:prSet custT="1"/>
      <dgm:spPr/>
      <dgm:t>
        <a:bodyPr/>
        <a:lstStyle/>
        <a:p>
          <a:r>
            <a:rPr lang="en-US" sz="2400" baseline="0" err="1"/>
            <a:t>ValueFromRemainingArguments</a:t>
          </a:r>
          <a:r>
            <a:rPr lang="en-US" sz="2400" baseline="0"/>
            <a:t> </a:t>
          </a:r>
          <a:endParaRPr lang="en-US" sz="2400"/>
        </a:p>
      </dgm:t>
    </dgm:pt>
    <dgm:pt modelId="{9879964D-6A8F-4D62-9115-187F255A6115}" type="parTrans" cxnId="{74B0B4FD-5E99-4880-9F9F-66A537A5DB9D}">
      <dgm:prSet/>
      <dgm:spPr/>
      <dgm:t>
        <a:bodyPr/>
        <a:lstStyle/>
        <a:p>
          <a:endParaRPr lang="en-US" sz="2400"/>
        </a:p>
      </dgm:t>
    </dgm:pt>
    <dgm:pt modelId="{1FB6AB74-8FEF-4FA2-9823-68A1928FE789}" type="sibTrans" cxnId="{74B0B4FD-5E99-4880-9F9F-66A537A5DB9D}">
      <dgm:prSet/>
      <dgm:spPr/>
      <dgm:t>
        <a:bodyPr/>
        <a:lstStyle/>
        <a:p>
          <a:endParaRPr lang="en-US" sz="2400"/>
        </a:p>
      </dgm:t>
    </dgm:pt>
    <dgm:pt modelId="{BE5E30C9-E042-4D09-8AD6-ABABDF665223}">
      <dgm:prSet custT="1"/>
      <dgm:spPr/>
      <dgm:t>
        <a:bodyPr/>
        <a:lstStyle/>
        <a:p>
          <a:r>
            <a:rPr lang="en-US" sz="2400" baseline="0" err="1"/>
            <a:t>HelpMessage</a:t>
          </a:r>
          <a:endParaRPr lang="en-US" sz="2400"/>
        </a:p>
      </dgm:t>
    </dgm:pt>
    <dgm:pt modelId="{0678054B-3CB4-4262-A0BB-E3E79E1084F5}" type="parTrans" cxnId="{C9033D1F-AA69-48AB-B65D-60D4344AE8A3}">
      <dgm:prSet/>
      <dgm:spPr/>
      <dgm:t>
        <a:bodyPr/>
        <a:lstStyle/>
        <a:p>
          <a:endParaRPr lang="en-US" sz="2400"/>
        </a:p>
      </dgm:t>
    </dgm:pt>
    <dgm:pt modelId="{26928F43-DDC4-4299-9236-4A3D2386C700}" type="sibTrans" cxnId="{C9033D1F-AA69-48AB-B65D-60D4344AE8A3}">
      <dgm:prSet/>
      <dgm:spPr/>
      <dgm:t>
        <a:bodyPr/>
        <a:lstStyle/>
        <a:p>
          <a:endParaRPr lang="en-US" sz="2400"/>
        </a:p>
      </dgm:t>
    </dgm:pt>
    <dgm:pt modelId="{23FC6918-FCD7-4541-8E6F-EDED0461056D}">
      <dgm:prSet custT="1"/>
      <dgm:spPr/>
      <dgm:t>
        <a:bodyPr/>
        <a:lstStyle/>
        <a:p>
          <a:r>
            <a:rPr lang="en-US" sz="2400" baseline="0" err="1"/>
            <a:t>ParameterSetName</a:t>
          </a:r>
          <a:endParaRPr lang="en-US" sz="2400"/>
        </a:p>
      </dgm:t>
    </dgm:pt>
    <dgm:pt modelId="{C44F3A2A-2B16-4A2F-A503-3982207DC561}" type="parTrans" cxnId="{941AF48C-55AF-4DE3-A314-03CDD8052B4E}">
      <dgm:prSet/>
      <dgm:spPr/>
      <dgm:t>
        <a:bodyPr/>
        <a:lstStyle/>
        <a:p>
          <a:endParaRPr lang="en-US" sz="2400"/>
        </a:p>
      </dgm:t>
    </dgm:pt>
    <dgm:pt modelId="{43F1332E-A1A5-4577-9E07-D2D3B942975A}" type="sibTrans" cxnId="{941AF48C-55AF-4DE3-A314-03CDD8052B4E}">
      <dgm:prSet/>
      <dgm:spPr/>
      <dgm:t>
        <a:bodyPr/>
        <a:lstStyle/>
        <a:p>
          <a:endParaRPr lang="en-US" sz="2400"/>
        </a:p>
      </dgm:t>
    </dgm:pt>
    <dgm:pt modelId="{4C231BB0-E228-46E6-BB89-C1DE50DC1D52}" type="pres">
      <dgm:prSet presAssocID="{560EF254-881F-4517-9500-0C391476CC48}" presName="vert0" presStyleCnt="0">
        <dgm:presLayoutVars>
          <dgm:dir/>
          <dgm:animOne val="branch"/>
          <dgm:animLvl val="lvl"/>
        </dgm:presLayoutVars>
      </dgm:prSet>
      <dgm:spPr/>
    </dgm:pt>
    <dgm:pt modelId="{9C578D84-92DF-46DB-B0C3-D876942BB858}" type="pres">
      <dgm:prSet presAssocID="{7C803847-8CEF-408A-9464-E5802369F038}" presName="thickLine" presStyleLbl="alignNode1" presStyleIdx="0" presStyleCnt="7"/>
      <dgm:spPr/>
    </dgm:pt>
    <dgm:pt modelId="{B4A8B236-859B-420E-B1EB-17A6690F6A1A}" type="pres">
      <dgm:prSet presAssocID="{7C803847-8CEF-408A-9464-E5802369F038}" presName="horz1" presStyleCnt="0"/>
      <dgm:spPr/>
    </dgm:pt>
    <dgm:pt modelId="{300EF4C7-FADB-477E-9482-0E13F8AC5DB1}" type="pres">
      <dgm:prSet presAssocID="{7C803847-8CEF-408A-9464-E5802369F038}" presName="tx1" presStyleLbl="revTx" presStyleIdx="0" presStyleCnt="7"/>
      <dgm:spPr/>
    </dgm:pt>
    <dgm:pt modelId="{4FCFE66C-CF6F-470B-8823-6200B8F9A0E9}" type="pres">
      <dgm:prSet presAssocID="{7C803847-8CEF-408A-9464-E5802369F038}" presName="vert1" presStyleCnt="0"/>
      <dgm:spPr/>
    </dgm:pt>
    <dgm:pt modelId="{4F4F793B-FAFD-4F52-A9EE-9F360C8A4BB7}" type="pres">
      <dgm:prSet presAssocID="{5091F423-3B6E-4CF1-91C1-70010D3B98D5}" presName="thickLine" presStyleLbl="alignNode1" presStyleIdx="1" presStyleCnt="7"/>
      <dgm:spPr/>
    </dgm:pt>
    <dgm:pt modelId="{BB8D316F-F233-4818-A71B-C3AFB4AE920C}" type="pres">
      <dgm:prSet presAssocID="{5091F423-3B6E-4CF1-91C1-70010D3B98D5}" presName="horz1" presStyleCnt="0"/>
      <dgm:spPr/>
    </dgm:pt>
    <dgm:pt modelId="{DAE4E82D-A95E-49A1-91FD-DBDDCFA04CCE}" type="pres">
      <dgm:prSet presAssocID="{5091F423-3B6E-4CF1-91C1-70010D3B98D5}" presName="tx1" presStyleLbl="revTx" presStyleIdx="1" presStyleCnt="7"/>
      <dgm:spPr/>
    </dgm:pt>
    <dgm:pt modelId="{AEBBEF18-92FB-41DD-A996-29D819529145}" type="pres">
      <dgm:prSet presAssocID="{5091F423-3B6E-4CF1-91C1-70010D3B98D5}" presName="vert1" presStyleCnt="0"/>
      <dgm:spPr/>
    </dgm:pt>
    <dgm:pt modelId="{91F8F41D-61BF-45D9-BB46-2578BFEA037C}" type="pres">
      <dgm:prSet presAssocID="{23FC6918-FCD7-4541-8E6F-EDED0461056D}" presName="thickLine" presStyleLbl="alignNode1" presStyleIdx="2" presStyleCnt="7"/>
      <dgm:spPr/>
    </dgm:pt>
    <dgm:pt modelId="{C633424A-967C-480D-844C-12F588FCD1CC}" type="pres">
      <dgm:prSet presAssocID="{23FC6918-FCD7-4541-8E6F-EDED0461056D}" presName="horz1" presStyleCnt="0"/>
      <dgm:spPr/>
    </dgm:pt>
    <dgm:pt modelId="{DD6CD83D-6C25-4B2C-8809-58CB6FCDA2B6}" type="pres">
      <dgm:prSet presAssocID="{23FC6918-FCD7-4541-8E6F-EDED0461056D}" presName="tx1" presStyleLbl="revTx" presStyleIdx="2" presStyleCnt="7"/>
      <dgm:spPr/>
    </dgm:pt>
    <dgm:pt modelId="{B09A932B-905C-4B7D-A6E4-69F051580D5D}" type="pres">
      <dgm:prSet presAssocID="{23FC6918-FCD7-4541-8E6F-EDED0461056D}" presName="vert1" presStyleCnt="0"/>
      <dgm:spPr/>
    </dgm:pt>
    <dgm:pt modelId="{878A32F9-493E-42FB-BEA3-B4F573981868}" type="pres">
      <dgm:prSet presAssocID="{B8C15EA6-890C-456B-BCEE-ED5AB8D38136}" presName="thickLine" presStyleLbl="alignNode1" presStyleIdx="3" presStyleCnt="7"/>
      <dgm:spPr/>
    </dgm:pt>
    <dgm:pt modelId="{1FAD03AC-9C1A-4AA7-9152-A171C15355E7}" type="pres">
      <dgm:prSet presAssocID="{B8C15EA6-890C-456B-BCEE-ED5AB8D38136}" presName="horz1" presStyleCnt="0"/>
      <dgm:spPr/>
    </dgm:pt>
    <dgm:pt modelId="{9AD56F06-2101-4F5E-B69F-01973099B24A}" type="pres">
      <dgm:prSet presAssocID="{B8C15EA6-890C-456B-BCEE-ED5AB8D38136}" presName="tx1" presStyleLbl="revTx" presStyleIdx="3" presStyleCnt="7"/>
      <dgm:spPr/>
    </dgm:pt>
    <dgm:pt modelId="{A5F9A0A5-67C3-4AA5-A803-F90E25E43B93}" type="pres">
      <dgm:prSet presAssocID="{B8C15EA6-890C-456B-BCEE-ED5AB8D38136}" presName="vert1" presStyleCnt="0"/>
      <dgm:spPr/>
    </dgm:pt>
    <dgm:pt modelId="{CA42F884-62DB-4783-8C3C-C9362DBA74D0}" type="pres">
      <dgm:prSet presAssocID="{DF1CDCFB-72CC-441B-B2C0-2048B09555B6}" presName="thickLine" presStyleLbl="alignNode1" presStyleIdx="4" presStyleCnt="7"/>
      <dgm:spPr/>
    </dgm:pt>
    <dgm:pt modelId="{9833FD8E-252D-4854-87B7-26FB5EC50A68}" type="pres">
      <dgm:prSet presAssocID="{DF1CDCFB-72CC-441B-B2C0-2048B09555B6}" presName="horz1" presStyleCnt="0"/>
      <dgm:spPr/>
    </dgm:pt>
    <dgm:pt modelId="{A80F0CB9-15CC-47C1-AA9A-0CD3AA9A6C11}" type="pres">
      <dgm:prSet presAssocID="{DF1CDCFB-72CC-441B-B2C0-2048B09555B6}" presName="tx1" presStyleLbl="revTx" presStyleIdx="4" presStyleCnt="7" custScaleY="115118"/>
      <dgm:spPr/>
    </dgm:pt>
    <dgm:pt modelId="{F4520468-29E5-41B9-B93C-A97F052097F3}" type="pres">
      <dgm:prSet presAssocID="{DF1CDCFB-72CC-441B-B2C0-2048B09555B6}" presName="vert1" presStyleCnt="0"/>
      <dgm:spPr/>
    </dgm:pt>
    <dgm:pt modelId="{BB2758C6-AAFC-48BC-ADC9-DFB905A2A27C}" type="pres">
      <dgm:prSet presAssocID="{DBF3D5E1-6704-4437-96F4-6088FFC17F8E}" presName="thickLine" presStyleLbl="alignNode1" presStyleIdx="5" presStyleCnt="7"/>
      <dgm:spPr/>
    </dgm:pt>
    <dgm:pt modelId="{1F852B0C-2C1A-4E56-AC82-0521FF1C098B}" type="pres">
      <dgm:prSet presAssocID="{DBF3D5E1-6704-4437-96F4-6088FFC17F8E}" presName="horz1" presStyleCnt="0"/>
      <dgm:spPr/>
    </dgm:pt>
    <dgm:pt modelId="{3C476096-4315-4618-8129-7116188C168A}" type="pres">
      <dgm:prSet presAssocID="{DBF3D5E1-6704-4437-96F4-6088FFC17F8E}" presName="tx1" presStyleLbl="revTx" presStyleIdx="5" presStyleCnt="7"/>
      <dgm:spPr/>
    </dgm:pt>
    <dgm:pt modelId="{0212A62D-3D40-41F1-AC0C-F79816430ECB}" type="pres">
      <dgm:prSet presAssocID="{DBF3D5E1-6704-4437-96F4-6088FFC17F8E}" presName="vert1" presStyleCnt="0"/>
      <dgm:spPr/>
    </dgm:pt>
    <dgm:pt modelId="{4C6AF974-FDF8-470B-A827-7EFA1B8081AB}" type="pres">
      <dgm:prSet presAssocID="{BE5E30C9-E042-4D09-8AD6-ABABDF665223}" presName="thickLine" presStyleLbl="alignNode1" presStyleIdx="6" presStyleCnt="7"/>
      <dgm:spPr/>
    </dgm:pt>
    <dgm:pt modelId="{ED08B151-A48A-4998-987A-28D40CCE7756}" type="pres">
      <dgm:prSet presAssocID="{BE5E30C9-E042-4D09-8AD6-ABABDF665223}" presName="horz1" presStyleCnt="0"/>
      <dgm:spPr/>
    </dgm:pt>
    <dgm:pt modelId="{DC1AC3A9-C57E-4138-94DF-229D2107DE07}" type="pres">
      <dgm:prSet presAssocID="{BE5E30C9-E042-4D09-8AD6-ABABDF665223}" presName="tx1" presStyleLbl="revTx" presStyleIdx="6" presStyleCnt="7"/>
      <dgm:spPr/>
    </dgm:pt>
    <dgm:pt modelId="{01552EF4-E41E-449E-A085-7CC4AD210D67}" type="pres">
      <dgm:prSet presAssocID="{BE5E30C9-E042-4D09-8AD6-ABABDF665223}" presName="vert1" presStyleCnt="0"/>
      <dgm:spPr/>
    </dgm:pt>
  </dgm:ptLst>
  <dgm:cxnLst>
    <dgm:cxn modelId="{A0845109-689B-4B2E-B1AD-2561EEA1ACF5}" type="presOf" srcId="{BE5E30C9-E042-4D09-8AD6-ABABDF665223}" destId="{DC1AC3A9-C57E-4138-94DF-229D2107DE07}" srcOrd="0" destOrd="0" presId="urn:microsoft.com/office/officeart/2008/layout/LinedList"/>
    <dgm:cxn modelId="{CF792216-499B-4CF1-A978-50C99982482B}" type="presOf" srcId="{560EF254-881F-4517-9500-0C391476CC48}" destId="{4C231BB0-E228-46E6-BB89-C1DE50DC1D52}" srcOrd="0" destOrd="0" presId="urn:microsoft.com/office/officeart/2008/layout/LinedList"/>
    <dgm:cxn modelId="{C9033D1F-AA69-48AB-B65D-60D4344AE8A3}" srcId="{560EF254-881F-4517-9500-0C391476CC48}" destId="{BE5E30C9-E042-4D09-8AD6-ABABDF665223}" srcOrd="6" destOrd="0" parTransId="{0678054B-3CB4-4262-A0BB-E3E79E1084F5}" sibTransId="{26928F43-DDC4-4299-9236-4A3D2386C700}"/>
    <dgm:cxn modelId="{42CD0439-A791-4FFD-98D1-1E157A2D35A0}" srcId="{560EF254-881F-4517-9500-0C391476CC48}" destId="{7C803847-8CEF-408A-9464-E5802369F038}" srcOrd="0" destOrd="0" parTransId="{FF9F94D4-1CE5-4DB7-82FA-459AAFDDF6D2}" sibTransId="{5A43ACDC-3BFB-445C-9A54-6C256FCE6BA8}"/>
    <dgm:cxn modelId="{FA93673A-BFF6-482E-8F44-23115F8DDC0D}" srcId="{560EF254-881F-4517-9500-0C391476CC48}" destId="{DF1CDCFB-72CC-441B-B2C0-2048B09555B6}" srcOrd="4" destOrd="0" parTransId="{676EA176-E302-4EF7-9F29-132248340CF7}" sibTransId="{C523260E-B29D-4752-81CA-F31F81EBA14E}"/>
    <dgm:cxn modelId="{16C2A43A-D646-4DEE-8D2F-4E4F5C0B17E3}" type="presOf" srcId="{DF1CDCFB-72CC-441B-B2C0-2048B09555B6}" destId="{A80F0CB9-15CC-47C1-AA9A-0CD3AA9A6C11}" srcOrd="0" destOrd="0" presId="urn:microsoft.com/office/officeart/2008/layout/LinedList"/>
    <dgm:cxn modelId="{6672BF65-244E-4754-8C94-FDD732DEAAC6}" srcId="{560EF254-881F-4517-9500-0C391476CC48}" destId="{B8C15EA6-890C-456B-BCEE-ED5AB8D38136}" srcOrd="3" destOrd="0" parTransId="{0C31E6AF-E7A4-433A-8738-A5FCF1245D32}" sibTransId="{423D20CD-050D-489A-9594-534B49CDD355}"/>
    <dgm:cxn modelId="{EB679A77-540B-4B83-9BC9-AD5D138DF49F}" type="presOf" srcId="{DBF3D5E1-6704-4437-96F4-6088FFC17F8E}" destId="{3C476096-4315-4618-8129-7116188C168A}" srcOrd="0" destOrd="0" presId="urn:microsoft.com/office/officeart/2008/layout/LinedList"/>
    <dgm:cxn modelId="{941AF48C-55AF-4DE3-A314-03CDD8052B4E}" srcId="{560EF254-881F-4517-9500-0C391476CC48}" destId="{23FC6918-FCD7-4541-8E6F-EDED0461056D}" srcOrd="2" destOrd="0" parTransId="{C44F3A2A-2B16-4A2F-A503-3982207DC561}" sibTransId="{43F1332E-A1A5-4577-9E07-D2D3B942975A}"/>
    <dgm:cxn modelId="{EF619E9F-53A3-4378-BA7B-1CD7F0528D6F}" type="presOf" srcId="{5091F423-3B6E-4CF1-91C1-70010D3B98D5}" destId="{DAE4E82D-A95E-49A1-91FD-DBDDCFA04CCE}" srcOrd="0" destOrd="0" presId="urn:microsoft.com/office/officeart/2008/layout/LinedList"/>
    <dgm:cxn modelId="{BED993DA-D4AB-41C5-BA0E-769DAA4AAAC5}" type="presOf" srcId="{B8C15EA6-890C-456B-BCEE-ED5AB8D38136}" destId="{9AD56F06-2101-4F5E-B69F-01973099B24A}" srcOrd="0" destOrd="0" presId="urn:microsoft.com/office/officeart/2008/layout/LinedList"/>
    <dgm:cxn modelId="{33A964F0-E1A1-45C9-AF13-F081874ACF83}" srcId="{560EF254-881F-4517-9500-0C391476CC48}" destId="{5091F423-3B6E-4CF1-91C1-70010D3B98D5}" srcOrd="1" destOrd="0" parTransId="{B5B8CC14-2D9A-469B-843E-BE009EF12826}" sibTransId="{41A00947-F09B-4D15-A557-1216611837B2}"/>
    <dgm:cxn modelId="{2E1566FD-15DB-4136-A4AF-154447AC8557}" type="presOf" srcId="{23FC6918-FCD7-4541-8E6F-EDED0461056D}" destId="{DD6CD83D-6C25-4B2C-8809-58CB6FCDA2B6}" srcOrd="0" destOrd="0" presId="urn:microsoft.com/office/officeart/2008/layout/LinedList"/>
    <dgm:cxn modelId="{74B0B4FD-5E99-4880-9F9F-66A537A5DB9D}" srcId="{560EF254-881F-4517-9500-0C391476CC48}" destId="{DBF3D5E1-6704-4437-96F4-6088FFC17F8E}" srcOrd="5" destOrd="0" parTransId="{9879964D-6A8F-4D62-9115-187F255A6115}" sibTransId="{1FB6AB74-8FEF-4FA2-9823-68A1928FE789}"/>
    <dgm:cxn modelId="{EF7622FF-2BBF-45F1-A9EC-4F835CB2CC31}" type="presOf" srcId="{7C803847-8CEF-408A-9464-E5802369F038}" destId="{300EF4C7-FADB-477E-9482-0E13F8AC5DB1}" srcOrd="0" destOrd="0" presId="urn:microsoft.com/office/officeart/2008/layout/LinedList"/>
    <dgm:cxn modelId="{A78C1086-0D95-45C8-B893-27012B627BAD}" type="presParOf" srcId="{4C231BB0-E228-46E6-BB89-C1DE50DC1D52}" destId="{9C578D84-92DF-46DB-B0C3-D876942BB858}" srcOrd="0" destOrd="0" presId="urn:microsoft.com/office/officeart/2008/layout/LinedList"/>
    <dgm:cxn modelId="{572D9909-65A1-4300-84B9-7715C78BD826}" type="presParOf" srcId="{4C231BB0-E228-46E6-BB89-C1DE50DC1D52}" destId="{B4A8B236-859B-420E-B1EB-17A6690F6A1A}" srcOrd="1" destOrd="0" presId="urn:microsoft.com/office/officeart/2008/layout/LinedList"/>
    <dgm:cxn modelId="{B6E02275-D617-495B-BB70-111AA139C961}" type="presParOf" srcId="{B4A8B236-859B-420E-B1EB-17A6690F6A1A}" destId="{300EF4C7-FADB-477E-9482-0E13F8AC5DB1}" srcOrd="0" destOrd="0" presId="urn:microsoft.com/office/officeart/2008/layout/LinedList"/>
    <dgm:cxn modelId="{51BF9948-D05F-4592-91BC-6CEA1CF33A3B}" type="presParOf" srcId="{B4A8B236-859B-420E-B1EB-17A6690F6A1A}" destId="{4FCFE66C-CF6F-470B-8823-6200B8F9A0E9}" srcOrd="1" destOrd="0" presId="urn:microsoft.com/office/officeart/2008/layout/LinedList"/>
    <dgm:cxn modelId="{A9133D7C-D00C-43E6-A7B5-06E071D867AC}" type="presParOf" srcId="{4C231BB0-E228-46E6-BB89-C1DE50DC1D52}" destId="{4F4F793B-FAFD-4F52-A9EE-9F360C8A4BB7}" srcOrd="2" destOrd="0" presId="urn:microsoft.com/office/officeart/2008/layout/LinedList"/>
    <dgm:cxn modelId="{6BE7DF85-7DDE-4F8D-B866-A1244EF0D109}" type="presParOf" srcId="{4C231BB0-E228-46E6-BB89-C1DE50DC1D52}" destId="{BB8D316F-F233-4818-A71B-C3AFB4AE920C}" srcOrd="3" destOrd="0" presId="urn:microsoft.com/office/officeart/2008/layout/LinedList"/>
    <dgm:cxn modelId="{14E1B640-E2C3-4EBB-8784-49AB0DF86842}" type="presParOf" srcId="{BB8D316F-F233-4818-A71B-C3AFB4AE920C}" destId="{DAE4E82D-A95E-49A1-91FD-DBDDCFA04CCE}" srcOrd="0" destOrd="0" presId="urn:microsoft.com/office/officeart/2008/layout/LinedList"/>
    <dgm:cxn modelId="{EDD148BC-73A0-45FA-BCC3-F42A41B64A75}" type="presParOf" srcId="{BB8D316F-F233-4818-A71B-C3AFB4AE920C}" destId="{AEBBEF18-92FB-41DD-A996-29D819529145}" srcOrd="1" destOrd="0" presId="urn:microsoft.com/office/officeart/2008/layout/LinedList"/>
    <dgm:cxn modelId="{477C56E7-9397-4BFF-8E2E-D8509FD9C2D8}" type="presParOf" srcId="{4C231BB0-E228-46E6-BB89-C1DE50DC1D52}" destId="{91F8F41D-61BF-45D9-BB46-2578BFEA037C}" srcOrd="4" destOrd="0" presId="urn:microsoft.com/office/officeart/2008/layout/LinedList"/>
    <dgm:cxn modelId="{CD28D36A-A230-4A37-8010-F41D1CD1D5D3}" type="presParOf" srcId="{4C231BB0-E228-46E6-BB89-C1DE50DC1D52}" destId="{C633424A-967C-480D-844C-12F588FCD1CC}" srcOrd="5" destOrd="0" presId="urn:microsoft.com/office/officeart/2008/layout/LinedList"/>
    <dgm:cxn modelId="{B08E1B7F-3FD4-469D-9555-3E917FE8CDBB}" type="presParOf" srcId="{C633424A-967C-480D-844C-12F588FCD1CC}" destId="{DD6CD83D-6C25-4B2C-8809-58CB6FCDA2B6}" srcOrd="0" destOrd="0" presId="urn:microsoft.com/office/officeart/2008/layout/LinedList"/>
    <dgm:cxn modelId="{95FF936C-B41B-4B25-867B-E6B805486500}" type="presParOf" srcId="{C633424A-967C-480D-844C-12F588FCD1CC}" destId="{B09A932B-905C-4B7D-A6E4-69F051580D5D}" srcOrd="1" destOrd="0" presId="urn:microsoft.com/office/officeart/2008/layout/LinedList"/>
    <dgm:cxn modelId="{141A3B6B-1BB5-4195-9637-1351BF9444FD}" type="presParOf" srcId="{4C231BB0-E228-46E6-BB89-C1DE50DC1D52}" destId="{878A32F9-493E-42FB-BEA3-B4F573981868}" srcOrd="6" destOrd="0" presId="urn:microsoft.com/office/officeart/2008/layout/LinedList"/>
    <dgm:cxn modelId="{5C75ABF9-A8E8-4DCF-B171-BA1492F118E3}" type="presParOf" srcId="{4C231BB0-E228-46E6-BB89-C1DE50DC1D52}" destId="{1FAD03AC-9C1A-4AA7-9152-A171C15355E7}" srcOrd="7" destOrd="0" presId="urn:microsoft.com/office/officeart/2008/layout/LinedList"/>
    <dgm:cxn modelId="{A36BC0E7-F23C-4BD0-9237-2577095A31F7}" type="presParOf" srcId="{1FAD03AC-9C1A-4AA7-9152-A171C15355E7}" destId="{9AD56F06-2101-4F5E-B69F-01973099B24A}" srcOrd="0" destOrd="0" presId="urn:microsoft.com/office/officeart/2008/layout/LinedList"/>
    <dgm:cxn modelId="{02998778-C4DF-4ECA-AA86-631E06104307}" type="presParOf" srcId="{1FAD03AC-9C1A-4AA7-9152-A171C15355E7}" destId="{A5F9A0A5-67C3-4AA5-A803-F90E25E43B93}" srcOrd="1" destOrd="0" presId="urn:microsoft.com/office/officeart/2008/layout/LinedList"/>
    <dgm:cxn modelId="{9E484681-F0FA-4F1B-BC21-6A7A3D73A855}" type="presParOf" srcId="{4C231BB0-E228-46E6-BB89-C1DE50DC1D52}" destId="{CA42F884-62DB-4783-8C3C-C9362DBA74D0}" srcOrd="8" destOrd="0" presId="urn:microsoft.com/office/officeart/2008/layout/LinedList"/>
    <dgm:cxn modelId="{7037FBF3-C774-48E2-9641-EF7D72C159A7}" type="presParOf" srcId="{4C231BB0-E228-46E6-BB89-C1DE50DC1D52}" destId="{9833FD8E-252D-4854-87B7-26FB5EC50A68}" srcOrd="9" destOrd="0" presId="urn:microsoft.com/office/officeart/2008/layout/LinedList"/>
    <dgm:cxn modelId="{D1587407-AC1C-4B95-9D29-320166C5E1DA}" type="presParOf" srcId="{9833FD8E-252D-4854-87B7-26FB5EC50A68}" destId="{A80F0CB9-15CC-47C1-AA9A-0CD3AA9A6C11}" srcOrd="0" destOrd="0" presId="urn:microsoft.com/office/officeart/2008/layout/LinedList"/>
    <dgm:cxn modelId="{EDD3A350-B4FA-4255-8D37-1063C8FA9A44}" type="presParOf" srcId="{9833FD8E-252D-4854-87B7-26FB5EC50A68}" destId="{F4520468-29E5-41B9-B93C-A97F052097F3}" srcOrd="1" destOrd="0" presId="urn:microsoft.com/office/officeart/2008/layout/LinedList"/>
    <dgm:cxn modelId="{4073C82B-F53E-4975-BF16-03DBCFEFBA22}" type="presParOf" srcId="{4C231BB0-E228-46E6-BB89-C1DE50DC1D52}" destId="{BB2758C6-AAFC-48BC-ADC9-DFB905A2A27C}" srcOrd="10" destOrd="0" presId="urn:microsoft.com/office/officeart/2008/layout/LinedList"/>
    <dgm:cxn modelId="{6CA950B7-BB3D-4CAD-BD15-B7AE6882B7AC}" type="presParOf" srcId="{4C231BB0-E228-46E6-BB89-C1DE50DC1D52}" destId="{1F852B0C-2C1A-4E56-AC82-0521FF1C098B}" srcOrd="11" destOrd="0" presId="urn:microsoft.com/office/officeart/2008/layout/LinedList"/>
    <dgm:cxn modelId="{91219F5C-404F-4D11-AD44-A6013AE489DC}" type="presParOf" srcId="{1F852B0C-2C1A-4E56-AC82-0521FF1C098B}" destId="{3C476096-4315-4618-8129-7116188C168A}" srcOrd="0" destOrd="0" presId="urn:microsoft.com/office/officeart/2008/layout/LinedList"/>
    <dgm:cxn modelId="{D51AB828-2ADC-486F-8A7F-AE6D2864AD69}" type="presParOf" srcId="{1F852B0C-2C1A-4E56-AC82-0521FF1C098B}" destId="{0212A62D-3D40-41F1-AC0C-F79816430ECB}" srcOrd="1" destOrd="0" presId="urn:microsoft.com/office/officeart/2008/layout/LinedList"/>
    <dgm:cxn modelId="{0A181BC7-D409-4BBA-BBC3-0A9C9E8FF100}" type="presParOf" srcId="{4C231BB0-E228-46E6-BB89-C1DE50DC1D52}" destId="{4C6AF974-FDF8-470B-A827-7EFA1B8081AB}" srcOrd="12" destOrd="0" presId="urn:microsoft.com/office/officeart/2008/layout/LinedList"/>
    <dgm:cxn modelId="{CCBAC5B4-BB12-4410-82BB-8993A029882E}" type="presParOf" srcId="{4C231BB0-E228-46E6-BB89-C1DE50DC1D52}" destId="{ED08B151-A48A-4998-987A-28D40CCE7756}" srcOrd="13" destOrd="0" presId="urn:microsoft.com/office/officeart/2008/layout/LinedList"/>
    <dgm:cxn modelId="{3484B44B-5597-4F67-9622-582857848C6C}" type="presParOf" srcId="{ED08B151-A48A-4998-987A-28D40CCE7756}" destId="{DC1AC3A9-C57E-4138-94DF-229D2107DE07}" srcOrd="0" destOrd="0" presId="urn:microsoft.com/office/officeart/2008/layout/LinedList"/>
    <dgm:cxn modelId="{A052CF6F-769E-43D1-B766-551374B04242}" type="presParOf" srcId="{ED08B151-A48A-4998-987A-28D40CCE7756}" destId="{01552EF4-E41E-449E-A085-7CC4AD210D67}"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2F455E1-12AC-40DA-A8D0-88244007F493}" type="doc">
      <dgm:prSet loTypeId="urn:microsoft.com/office/officeart/2005/8/layout/vList4" loCatId="list" qsTypeId="urn:microsoft.com/office/officeart/2005/8/quickstyle/simple1" qsCatId="simple" csTypeId="urn:microsoft.com/office/officeart/2005/8/colors/colorful2" csCatId="colorful" phldr="1"/>
      <dgm:spPr/>
      <dgm:t>
        <a:bodyPr/>
        <a:lstStyle/>
        <a:p>
          <a:endParaRPr lang="en-US"/>
        </a:p>
      </dgm:t>
    </dgm:pt>
    <dgm:pt modelId="{612960AA-42C5-4788-9BE7-8CE469CED4F5}">
      <dgm:prSet custT="1"/>
      <dgm:spPr>
        <a:solidFill>
          <a:schemeClr val="accent4">
            <a:lumMod val="50000"/>
          </a:schemeClr>
        </a:solidFill>
      </dgm:spPr>
      <dgm:t>
        <a:bodyPr/>
        <a:lstStyle/>
        <a:p>
          <a:pPr marL="0">
            <a:buNone/>
          </a:pPr>
          <a:r>
            <a:rPr lang="en-US" sz="2800" b="1" u="none"/>
            <a:t>Allow</a:t>
          </a:r>
          <a:endParaRPr lang="en-US" sz="2800" u="sng"/>
        </a:p>
      </dgm:t>
    </dgm:pt>
    <dgm:pt modelId="{D85F8869-45AB-42C3-A76D-2B1E5E8C4E5E}" type="parTrans" cxnId="{4E04EFFD-8121-4826-B061-5510D704950F}">
      <dgm:prSet/>
      <dgm:spPr/>
      <dgm:t>
        <a:bodyPr/>
        <a:lstStyle/>
        <a:p>
          <a:endParaRPr lang="en-US" sz="2800"/>
        </a:p>
      </dgm:t>
    </dgm:pt>
    <dgm:pt modelId="{E479620C-C6AF-4006-8856-2B53A2FB84C0}" type="sibTrans" cxnId="{4E04EFFD-8121-4826-B061-5510D704950F}">
      <dgm:prSet/>
      <dgm:spPr/>
      <dgm:t>
        <a:bodyPr/>
        <a:lstStyle/>
        <a:p>
          <a:endParaRPr lang="en-US" sz="2800"/>
        </a:p>
      </dgm:t>
    </dgm:pt>
    <dgm:pt modelId="{B007375E-8097-422E-83E7-8E4E44BF0A72}">
      <dgm:prSet custT="1"/>
      <dgm:spPr>
        <a:solidFill>
          <a:schemeClr val="accent4">
            <a:lumMod val="50000"/>
          </a:schemeClr>
        </a:solidFill>
      </dgm:spPr>
      <dgm:t>
        <a:bodyPr/>
        <a:lstStyle/>
        <a:p>
          <a:pPr marL="0">
            <a:buNone/>
          </a:pPr>
          <a:r>
            <a:rPr lang="en-US" sz="2800"/>
            <a:t>Allows </a:t>
          </a:r>
          <a:r>
            <a:rPr lang="en-US" sz="2800" b="1"/>
            <a:t>mandatory</a:t>
          </a:r>
          <a:r>
            <a:rPr lang="en-US" sz="2800"/>
            <a:t> parameters to be null or empty. </a:t>
          </a:r>
        </a:p>
      </dgm:t>
    </dgm:pt>
    <dgm:pt modelId="{8DE9E191-61A3-4A60-8BEE-1F05608D90D5}" type="parTrans" cxnId="{4EDF0886-8E44-4127-9102-3265CF779E12}">
      <dgm:prSet/>
      <dgm:spPr/>
      <dgm:t>
        <a:bodyPr/>
        <a:lstStyle/>
        <a:p>
          <a:endParaRPr lang="en-US" sz="2800"/>
        </a:p>
      </dgm:t>
    </dgm:pt>
    <dgm:pt modelId="{C2B5C9B5-F1E0-42D9-84E9-6DF108CB64B5}" type="sibTrans" cxnId="{4EDF0886-8E44-4127-9102-3265CF779E12}">
      <dgm:prSet/>
      <dgm:spPr/>
      <dgm:t>
        <a:bodyPr/>
        <a:lstStyle/>
        <a:p>
          <a:endParaRPr lang="en-US" sz="2800"/>
        </a:p>
      </dgm:t>
    </dgm:pt>
    <dgm:pt modelId="{3500ACEC-685F-4C45-B644-7FB30DA4BD4C}">
      <dgm:prSet custT="1"/>
      <dgm:spPr>
        <a:solidFill>
          <a:srgbClr val="943232"/>
        </a:solidFill>
      </dgm:spPr>
      <dgm:t>
        <a:bodyPr/>
        <a:lstStyle/>
        <a:p>
          <a:pPr marL="0" algn="l">
            <a:buNone/>
          </a:pPr>
          <a:r>
            <a:rPr lang="en-US" sz="2800" b="1" u="none" err="1"/>
            <a:t>ValidateNot</a:t>
          </a:r>
          <a:endParaRPr lang="en-US" sz="2800" u="sng"/>
        </a:p>
      </dgm:t>
    </dgm:pt>
    <dgm:pt modelId="{8290B688-AAD8-49B8-B282-37DAA9D6E80C}" type="parTrans" cxnId="{1ED7D2C0-2F6E-4891-973E-76EEEBA30E25}">
      <dgm:prSet/>
      <dgm:spPr/>
      <dgm:t>
        <a:bodyPr/>
        <a:lstStyle/>
        <a:p>
          <a:endParaRPr lang="en-US" sz="2800"/>
        </a:p>
      </dgm:t>
    </dgm:pt>
    <dgm:pt modelId="{78D69E55-C2C7-4797-A87B-37EFC922B7CD}" type="sibTrans" cxnId="{1ED7D2C0-2F6E-4891-973E-76EEEBA30E25}">
      <dgm:prSet/>
      <dgm:spPr/>
      <dgm:t>
        <a:bodyPr/>
        <a:lstStyle/>
        <a:p>
          <a:endParaRPr lang="en-US" sz="2800"/>
        </a:p>
      </dgm:t>
    </dgm:pt>
    <dgm:pt modelId="{9C6B01CF-0F9D-43DA-AA00-AB7DF5862226}">
      <dgm:prSet custT="1"/>
      <dgm:spPr>
        <a:solidFill>
          <a:srgbClr val="943232"/>
        </a:solidFill>
      </dgm:spPr>
      <dgm:t>
        <a:bodyPr/>
        <a:lstStyle/>
        <a:p>
          <a:pPr marL="0" algn="l">
            <a:buNone/>
          </a:pPr>
          <a:r>
            <a:rPr lang="en-US" sz="2800"/>
            <a:t>Designed to force un-typed </a:t>
          </a:r>
          <a:r>
            <a:rPr lang="en-US" sz="2800" b="1"/>
            <a:t>optional</a:t>
          </a:r>
          <a:r>
            <a:rPr lang="en-US" sz="2800"/>
            <a:t> parameters to have a value if used. </a:t>
          </a:r>
        </a:p>
      </dgm:t>
    </dgm:pt>
    <dgm:pt modelId="{AA141B15-580F-465A-B634-9BC654141256}" type="parTrans" cxnId="{23E7F100-2D1B-49AA-BEA4-A3E011D59C94}">
      <dgm:prSet/>
      <dgm:spPr/>
      <dgm:t>
        <a:bodyPr/>
        <a:lstStyle/>
        <a:p>
          <a:endParaRPr lang="en-US" sz="2800"/>
        </a:p>
      </dgm:t>
    </dgm:pt>
    <dgm:pt modelId="{56C10B75-907C-4D32-A583-607114F5901C}" type="sibTrans" cxnId="{23E7F100-2D1B-49AA-BEA4-A3E011D59C94}">
      <dgm:prSet/>
      <dgm:spPr/>
      <dgm:t>
        <a:bodyPr/>
        <a:lstStyle/>
        <a:p>
          <a:endParaRPr lang="en-US" sz="2800"/>
        </a:p>
      </dgm:t>
    </dgm:pt>
    <dgm:pt modelId="{57C056E3-9CD9-488C-8D64-F1C6D37F755B}" type="pres">
      <dgm:prSet presAssocID="{C2F455E1-12AC-40DA-A8D0-88244007F493}" presName="linear" presStyleCnt="0">
        <dgm:presLayoutVars>
          <dgm:dir/>
          <dgm:resizeHandles val="exact"/>
        </dgm:presLayoutVars>
      </dgm:prSet>
      <dgm:spPr/>
    </dgm:pt>
    <dgm:pt modelId="{4EB72302-D36C-4657-9E65-6074CD2A7869}" type="pres">
      <dgm:prSet presAssocID="{612960AA-42C5-4788-9BE7-8CE469CED4F5}" presName="comp" presStyleCnt="0"/>
      <dgm:spPr/>
    </dgm:pt>
    <dgm:pt modelId="{ABFD9AD6-6B16-4EF1-BFAE-0E143B27A841}" type="pres">
      <dgm:prSet presAssocID="{612960AA-42C5-4788-9BE7-8CE469CED4F5}" presName="box" presStyleLbl="node1" presStyleIdx="0" presStyleCnt="2"/>
      <dgm:spPr/>
    </dgm:pt>
    <dgm:pt modelId="{932957C8-6A13-4B60-A722-9807020907D0}" type="pres">
      <dgm:prSet presAssocID="{612960AA-42C5-4788-9BE7-8CE469CED4F5}" presName="img" presStyleLbl="fgImgPlace1" presStyleIdx="0" presStyleCnt="2"/>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t="17452" b="17452"/>
          </a:stretch>
        </a:blipFill>
        <a:ln>
          <a:noFill/>
        </a:ln>
      </dgm:spPr>
      <dgm:extLst>
        <a:ext uri="{E40237B7-FDA0-4F09-8148-C483321AD2D9}">
          <dgm14:cNvPr xmlns:dgm14="http://schemas.microsoft.com/office/drawing/2010/diagram" id="0" name="" descr="Checkmark with solid fill"/>
        </a:ext>
      </dgm:extLst>
    </dgm:pt>
    <dgm:pt modelId="{B43BA093-39C8-40E3-8D88-24DBD67BCD08}" type="pres">
      <dgm:prSet presAssocID="{612960AA-42C5-4788-9BE7-8CE469CED4F5}" presName="text" presStyleLbl="node1" presStyleIdx="0" presStyleCnt="2">
        <dgm:presLayoutVars>
          <dgm:bulletEnabled val="1"/>
        </dgm:presLayoutVars>
      </dgm:prSet>
      <dgm:spPr/>
    </dgm:pt>
    <dgm:pt modelId="{2D70972B-DA25-434C-BA44-DD07FB0829E8}" type="pres">
      <dgm:prSet presAssocID="{E479620C-C6AF-4006-8856-2B53A2FB84C0}" presName="spacer" presStyleCnt="0"/>
      <dgm:spPr/>
    </dgm:pt>
    <dgm:pt modelId="{ED04C24E-95AD-4F86-953B-5CA6F73BB890}" type="pres">
      <dgm:prSet presAssocID="{3500ACEC-685F-4C45-B644-7FB30DA4BD4C}" presName="comp" presStyleCnt="0"/>
      <dgm:spPr/>
    </dgm:pt>
    <dgm:pt modelId="{F7026A60-2B4D-4485-8719-6C6E9D0B74B5}" type="pres">
      <dgm:prSet presAssocID="{3500ACEC-685F-4C45-B644-7FB30DA4BD4C}" presName="box" presStyleLbl="node1" presStyleIdx="1" presStyleCnt="2"/>
      <dgm:spPr/>
    </dgm:pt>
    <dgm:pt modelId="{57E7FCF7-86C9-4343-8FB2-CFB44779AEED}" type="pres">
      <dgm:prSet presAssocID="{3500ACEC-685F-4C45-B644-7FB30DA4BD4C}" presName="img" presStyleLbl="fgImgPlace1" presStyleIdx="1" presStyleCnt="2"/>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7452" b="17452"/>
          </a:stretch>
        </a:blipFill>
        <a:ln>
          <a:noFill/>
        </a:ln>
      </dgm:spPr>
      <dgm:extLst>
        <a:ext uri="{E40237B7-FDA0-4F09-8148-C483321AD2D9}">
          <dgm14:cNvPr xmlns:dgm14="http://schemas.microsoft.com/office/drawing/2010/diagram" id="0" name="" descr="No sign with solid fill"/>
        </a:ext>
      </dgm:extLst>
    </dgm:pt>
    <dgm:pt modelId="{77F7F90D-0408-442E-8A8D-532F0C83B9CF}" type="pres">
      <dgm:prSet presAssocID="{3500ACEC-685F-4C45-B644-7FB30DA4BD4C}" presName="text" presStyleLbl="node1" presStyleIdx="1" presStyleCnt="2">
        <dgm:presLayoutVars>
          <dgm:bulletEnabled val="1"/>
        </dgm:presLayoutVars>
      </dgm:prSet>
      <dgm:spPr/>
    </dgm:pt>
  </dgm:ptLst>
  <dgm:cxnLst>
    <dgm:cxn modelId="{23E7F100-2D1B-49AA-BEA4-A3E011D59C94}" srcId="{3500ACEC-685F-4C45-B644-7FB30DA4BD4C}" destId="{9C6B01CF-0F9D-43DA-AA00-AB7DF5862226}" srcOrd="0" destOrd="0" parTransId="{AA141B15-580F-465A-B634-9BC654141256}" sibTransId="{56C10B75-907C-4D32-A583-607114F5901C}"/>
    <dgm:cxn modelId="{D086932E-CCBF-48C7-B6B0-00AB3EDD84F4}" type="presOf" srcId="{3500ACEC-685F-4C45-B644-7FB30DA4BD4C}" destId="{F7026A60-2B4D-4485-8719-6C6E9D0B74B5}" srcOrd="0" destOrd="0" presId="urn:microsoft.com/office/officeart/2005/8/layout/vList4"/>
    <dgm:cxn modelId="{6DD0943F-A02C-4B68-9D22-E940CDE12177}" type="presOf" srcId="{B007375E-8097-422E-83E7-8E4E44BF0A72}" destId="{B43BA093-39C8-40E3-8D88-24DBD67BCD08}" srcOrd="1" destOrd="1" presId="urn:microsoft.com/office/officeart/2005/8/layout/vList4"/>
    <dgm:cxn modelId="{A7E65B66-7D4F-478B-A089-9C0FD9285218}" type="presOf" srcId="{3500ACEC-685F-4C45-B644-7FB30DA4BD4C}" destId="{77F7F90D-0408-442E-8A8D-532F0C83B9CF}" srcOrd="1" destOrd="0" presId="urn:microsoft.com/office/officeart/2005/8/layout/vList4"/>
    <dgm:cxn modelId="{85B4B36D-257E-4502-A3E0-D51D22F98831}" type="presOf" srcId="{B007375E-8097-422E-83E7-8E4E44BF0A72}" destId="{ABFD9AD6-6B16-4EF1-BFAE-0E143B27A841}" srcOrd="0" destOrd="1" presId="urn:microsoft.com/office/officeart/2005/8/layout/vList4"/>
    <dgm:cxn modelId="{49DFFD53-DBCA-421A-B194-F4E57701B39A}" type="presOf" srcId="{9C6B01CF-0F9D-43DA-AA00-AB7DF5862226}" destId="{77F7F90D-0408-442E-8A8D-532F0C83B9CF}" srcOrd="1" destOrd="1" presId="urn:microsoft.com/office/officeart/2005/8/layout/vList4"/>
    <dgm:cxn modelId="{4EDF0886-8E44-4127-9102-3265CF779E12}" srcId="{612960AA-42C5-4788-9BE7-8CE469CED4F5}" destId="{B007375E-8097-422E-83E7-8E4E44BF0A72}" srcOrd="0" destOrd="0" parTransId="{8DE9E191-61A3-4A60-8BEE-1F05608D90D5}" sibTransId="{C2B5C9B5-F1E0-42D9-84E9-6DF108CB64B5}"/>
    <dgm:cxn modelId="{6AD517A6-F090-4457-8A9A-791206A727C0}" type="presOf" srcId="{C2F455E1-12AC-40DA-A8D0-88244007F493}" destId="{57C056E3-9CD9-488C-8D64-F1C6D37F755B}" srcOrd="0" destOrd="0" presId="urn:microsoft.com/office/officeart/2005/8/layout/vList4"/>
    <dgm:cxn modelId="{B7E3BBBB-4935-4CD7-A0A7-AD41B3F63E64}" type="presOf" srcId="{612960AA-42C5-4788-9BE7-8CE469CED4F5}" destId="{B43BA093-39C8-40E3-8D88-24DBD67BCD08}" srcOrd="1" destOrd="0" presId="urn:microsoft.com/office/officeart/2005/8/layout/vList4"/>
    <dgm:cxn modelId="{1ED7D2C0-2F6E-4891-973E-76EEEBA30E25}" srcId="{C2F455E1-12AC-40DA-A8D0-88244007F493}" destId="{3500ACEC-685F-4C45-B644-7FB30DA4BD4C}" srcOrd="1" destOrd="0" parTransId="{8290B688-AAD8-49B8-B282-37DAA9D6E80C}" sibTransId="{78D69E55-C2C7-4797-A87B-37EFC922B7CD}"/>
    <dgm:cxn modelId="{939692CF-FC16-42D3-8C62-3A527664C912}" type="presOf" srcId="{612960AA-42C5-4788-9BE7-8CE469CED4F5}" destId="{ABFD9AD6-6B16-4EF1-BFAE-0E143B27A841}" srcOrd="0" destOrd="0" presId="urn:microsoft.com/office/officeart/2005/8/layout/vList4"/>
    <dgm:cxn modelId="{AEB6EDF4-0809-423B-8AAE-D7CBF05DAB45}" type="presOf" srcId="{9C6B01CF-0F9D-43DA-AA00-AB7DF5862226}" destId="{F7026A60-2B4D-4485-8719-6C6E9D0B74B5}" srcOrd="0" destOrd="1" presId="urn:microsoft.com/office/officeart/2005/8/layout/vList4"/>
    <dgm:cxn modelId="{4E04EFFD-8121-4826-B061-5510D704950F}" srcId="{C2F455E1-12AC-40DA-A8D0-88244007F493}" destId="{612960AA-42C5-4788-9BE7-8CE469CED4F5}" srcOrd="0" destOrd="0" parTransId="{D85F8869-45AB-42C3-A76D-2B1E5E8C4E5E}" sibTransId="{E479620C-C6AF-4006-8856-2B53A2FB84C0}"/>
    <dgm:cxn modelId="{7C578B14-4942-4EDD-BD86-7B205F4F91E7}" type="presParOf" srcId="{57C056E3-9CD9-488C-8D64-F1C6D37F755B}" destId="{4EB72302-D36C-4657-9E65-6074CD2A7869}" srcOrd="0" destOrd="0" presId="urn:microsoft.com/office/officeart/2005/8/layout/vList4"/>
    <dgm:cxn modelId="{AF33AF9D-8837-4780-B1BD-63C814070476}" type="presParOf" srcId="{4EB72302-D36C-4657-9E65-6074CD2A7869}" destId="{ABFD9AD6-6B16-4EF1-BFAE-0E143B27A841}" srcOrd="0" destOrd="0" presId="urn:microsoft.com/office/officeart/2005/8/layout/vList4"/>
    <dgm:cxn modelId="{72A17FF3-6D9C-4722-8E9A-2AA7BC1E2AA0}" type="presParOf" srcId="{4EB72302-D36C-4657-9E65-6074CD2A7869}" destId="{932957C8-6A13-4B60-A722-9807020907D0}" srcOrd="1" destOrd="0" presId="urn:microsoft.com/office/officeart/2005/8/layout/vList4"/>
    <dgm:cxn modelId="{8E9654F7-B8DB-46D6-B9E4-B54F3841D3F9}" type="presParOf" srcId="{4EB72302-D36C-4657-9E65-6074CD2A7869}" destId="{B43BA093-39C8-40E3-8D88-24DBD67BCD08}" srcOrd="2" destOrd="0" presId="urn:microsoft.com/office/officeart/2005/8/layout/vList4"/>
    <dgm:cxn modelId="{D794F91F-6AB0-4F5C-930B-2B4494B4D882}" type="presParOf" srcId="{57C056E3-9CD9-488C-8D64-F1C6D37F755B}" destId="{2D70972B-DA25-434C-BA44-DD07FB0829E8}" srcOrd="1" destOrd="0" presId="urn:microsoft.com/office/officeart/2005/8/layout/vList4"/>
    <dgm:cxn modelId="{E41E0150-F4A8-4802-B462-1C73B48E9E3F}" type="presParOf" srcId="{57C056E3-9CD9-488C-8D64-F1C6D37F755B}" destId="{ED04C24E-95AD-4F86-953B-5CA6F73BB890}" srcOrd="2" destOrd="0" presId="urn:microsoft.com/office/officeart/2005/8/layout/vList4"/>
    <dgm:cxn modelId="{18E72190-2D8A-4AEE-8A41-C74E96B6B190}" type="presParOf" srcId="{ED04C24E-95AD-4F86-953B-5CA6F73BB890}" destId="{F7026A60-2B4D-4485-8719-6C6E9D0B74B5}" srcOrd="0" destOrd="0" presId="urn:microsoft.com/office/officeart/2005/8/layout/vList4"/>
    <dgm:cxn modelId="{16B37C7A-997C-435B-9574-34436097D471}" type="presParOf" srcId="{ED04C24E-95AD-4F86-953B-5CA6F73BB890}" destId="{57E7FCF7-86C9-4343-8FB2-CFB44779AEED}" srcOrd="1" destOrd="0" presId="urn:microsoft.com/office/officeart/2005/8/layout/vList4"/>
    <dgm:cxn modelId="{CFA00070-F599-42C2-BDB2-5265F1B69DEA}" type="presParOf" srcId="{ED04C24E-95AD-4F86-953B-5CA6F73BB890}" destId="{77F7F90D-0408-442E-8A8D-532F0C83B9CF}" srcOrd="2" destOrd="0" presId="urn:microsoft.com/office/officeart/2005/8/layout/vList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5A8E32-A8B7-42E3-8ED2-02A4693CBDB1}"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B6D6AA6-19AC-4439-A127-DB1D50B19EAE}">
      <dgm:prSet custT="1"/>
      <dgm:spPr/>
      <dgm:t>
        <a:bodyPr/>
        <a:lstStyle/>
        <a:p>
          <a:r>
            <a:rPr lang="en-US" sz="2400"/>
            <a:t>By default, all parameters are </a:t>
          </a:r>
          <a:r>
            <a:rPr lang="en-US" sz="2400" b="1"/>
            <a:t>optional</a:t>
          </a:r>
          <a:r>
            <a:rPr lang="en-US" sz="2400"/>
            <a:t> </a:t>
          </a:r>
        </a:p>
      </dgm:t>
    </dgm:pt>
    <dgm:pt modelId="{F5387D8B-6FD0-4335-9751-57C90E12CBA6}" type="parTrans" cxnId="{AD759232-0C77-40B7-98C7-9AEA6D68773F}">
      <dgm:prSet/>
      <dgm:spPr/>
      <dgm:t>
        <a:bodyPr/>
        <a:lstStyle/>
        <a:p>
          <a:endParaRPr lang="en-US" sz="2400"/>
        </a:p>
      </dgm:t>
    </dgm:pt>
    <dgm:pt modelId="{D7F68056-12D7-449B-BAB8-B78B845B68D7}" type="sibTrans" cxnId="{AD759232-0C77-40B7-98C7-9AEA6D68773F}">
      <dgm:prSet/>
      <dgm:spPr/>
      <dgm:t>
        <a:bodyPr/>
        <a:lstStyle/>
        <a:p>
          <a:endParaRPr lang="en-US" sz="2400"/>
        </a:p>
      </dgm:t>
    </dgm:pt>
    <dgm:pt modelId="{DE18DE66-160F-4725-BA9F-1763592921B2}">
      <dgm:prSet custT="1"/>
      <dgm:spPr/>
      <dgm:t>
        <a:bodyPr/>
        <a:lstStyle/>
        <a:p>
          <a:r>
            <a:rPr lang="en-US" sz="2400" b="1"/>
            <a:t>Prompts</a:t>
          </a:r>
          <a:r>
            <a:rPr lang="en-US" sz="2400"/>
            <a:t> user for missing values on command line</a:t>
          </a:r>
        </a:p>
      </dgm:t>
    </dgm:pt>
    <dgm:pt modelId="{E17BE872-429B-4431-A0D0-7C03354F27DA}" type="parTrans" cxnId="{9C170215-769C-4A11-8366-2C57E4794AAA}">
      <dgm:prSet/>
      <dgm:spPr/>
      <dgm:t>
        <a:bodyPr/>
        <a:lstStyle/>
        <a:p>
          <a:endParaRPr lang="en-US" sz="2400"/>
        </a:p>
      </dgm:t>
    </dgm:pt>
    <dgm:pt modelId="{2EA78FE9-F1C6-4527-9AA7-D9F0620781C8}" type="sibTrans" cxnId="{9C170215-769C-4A11-8366-2C57E4794AAA}">
      <dgm:prSet/>
      <dgm:spPr/>
      <dgm:t>
        <a:bodyPr/>
        <a:lstStyle/>
        <a:p>
          <a:endParaRPr lang="en-US" sz="2400"/>
        </a:p>
      </dgm:t>
    </dgm:pt>
    <dgm:pt modelId="{DF706178-2220-4FEA-9135-63ABF4683F8D}">
      <dgm:prSet custT="1"/>
      <dgm:spPr/>
      <dgm:t>
        <a:bodyPr/>
        <a:lstStyle/>
        <a:p>
          <a:r>
            <a:rPr lang="en-US" sz="2400"/>
            <a:t>Optional </a:t>
          </a:r>
          <a:r>
            <a:rPr lang="en-US" sz="2400" b="1" err="1"/>
            <a:t>HelpMessage</a:t>
          </a:r>
          <a:r>
            <a:rPr lang="en-US" sz="2400"/>
            <a:t> to provide additional information</a:t>
          </a:r>
        </a:p>
      </dgm:t>
    </dgm:pt>
    <dgm:pt modelId="{7D0FF062-1FAC-4E7E-A70F-AF8229D7E465}" type="parTrans" cxnId="{00671882-8A22-4F78-B69B-F009291389FE}">
      <dgm:prSet/>
      <dgm:spPr/>
      <dgm:t>
        <a:bodyPr/>
        <a:lstStyle/>
        <a:p>
          <a:endParaRPr lang="en-US" sz="2400"/>
        </a:p>
      </dgm:t>
    </dgm:pt>
    <dgm:pt modelId="{1C41B50A-2660-4071-8B94-DAB069C8D7B6}" type="sibTrans" cxnId="{00671882-8A22-4F78-B69B-F009291389FE}">
      <dgm:prSet/>
      <dgm:spPr/>
      <dgm:t>
        <a:bodyPr/>
        <a:lstStyle/>
        <a:p>
          <a:endParaRPr lang="en-US" sz="2400"/>
        </a:p>
      </dgm:t>
    </dgm:pt>
    <dgm:pt modelId="{A2E5F19F-E73A-48FC-8FB9-C451E068223C}">
      <dgm:prSet custT="1"/>
      <dgm:spPr/>
      <dgm:t>
        <a:bodyPr/>
        <a:lstStyle/>
        <a:p>
          <a:r>
            <a:rPr lang="en-US" sz="2400" err="1"/>
            <a:t>HelpMessage</a:t>
          </a:r>
          <a:r>
            <a:rPr lang="en-US" sz="2400"/>
            <a:t> does </a:t>
          </a:r>
          <a:r>
            <a:rPr lang="en-US" sz="2400" b="1"/>
            <a:t>not</a:t>
          </a:r>
          <a:r>
            <a:rPr lang="en-US" sz="2400"/>
            <a:t> get reflected in Get-Help info</a:t>
          </a:r>
        </a:p>
      </dgm:t>
    </dgm:pt>
    <dgm:pt modelId="{4175119E-942F-4296-817F-6EDFF4E99080}" type="parTrans" cxnId="{810F6E39-CD46-4894-8F68-D8C9A76D0A96}">
      <dgm:prSet/>
      <dgm:spPr/>
      <dgm:t>
        <a:bodyPr/>
        <a:lstStyle/>
        <a:p>
          <a:endParaRPr lang="en-US" sz="2400"/>
        </a:p>
      </dgm:t>
    </dgm:pt>
    <dgm:pt modelId="{9BC639D1-C9F1-4B1C-A58C-DCBF9E331085}" type="sibTrans" cxnId="{810F6E39-CD46-4894-8F68-D8C9A76D0A96}">
      <dgm:prSet/>
      <dgm:spPr/>
      <dgm:t>
        <a:bodyPr/>
        <a:lstStyle/>
        <a:p>
          <a:endParaRPr lang="en-US" sz="2400"/>
        </a:p>
      </dgm:t>
    </dgm:pt>
    <dgm:pt modelId="{70D4BD5E-0055-4383-9AEC-296EDBCF20B7}" type="pres">
      <dgm:prSet presAssocID="{9E5A8E32-A8B7-42E3-8ED2-02A4693CBDB1}" presName="vert0" presStyleCnt="0">
        <dgm:presLayoutVars>
          <dgm:dir/>
          <dgm:animOne val="branch"/>
          <dgm:animLvl val="lvl"/>
        </dgm:presLayoutVars>
      </dgm:prSet>
      <dgm:spPr/>
    </dgm:pt>
    <dgm:pt modelId="{713B6192-372C-425D-8A25-01E2FF390F73}" type="pres">
      <dgm:prSet presAssocID="{6B6D6AA6-19AC-4439-A127-DB1D50B19EAE}" presName="thickLine" presStyleLbl="alignNode1" presStyleIdx="0" presStyleCnt="4"/>
      <dgm:spPr/>
    </dgm:pt>
    <dgm:pt modelId="{BC5C7830-F01B-4237-8B23-96D581B58099}" type="pres">
      <dgm:prSet presAssocID="{6B6D6AA6-19AC-4439-A127-DB1D50B19EAE}" presName="horz1" presStyleCnt="0"/>
      <dgm:spPr/>
    </dgm:pt>
    <dgm:pt modelId="{2E2D2757-0AB5-41B1-B080-9DECCA5E134C}" type="pres">
      <dgm:prSet presAssocID="{6B6D6AA6-19AC-4439-A127-DB1D50B19EAE}" presName="tx1" presStyleLbl="revTx" presStyleIdx="0" presStyleCnt="4"/>
      <dgm:spPr/>
    </dgm:pt>
    <dgm:pt modelId="{A4AE600E-6B3B-4104-8D97-109862FAA414}" type="pres">
      <dgm:prSet presAssocID="{6B6D6AA6-19AC-4439-A127-DB1D50B19EAE}" presName="vert1" presStyleCnt="0"/>
      <dgm:spPr/>
    </dgm:pt>
    <dgm:pt modelId="{099CCE5E-12E0-46DE-A626-537C85AA88BC}" type="pres">
      <dgm:prSet presAssocID="{DE18DE66-160F-4725-BA9F-1763592921B2}" presName="thickLine" presStyleLbl="alignNode1" presStyleIdx="1" presStyleCnt="4"/>
      <dgm:spPr/>
    </dgm:pt>
    <dgm:pt modelId="{598D94A8-CF1B-4C18-9488-EA9720EC8092}" type="pres">
      <dgm:prSet presAssocID="{DE18DE66-160F-4725-BA9F-1763592921B2}" presName="horz1" presStyleCnt="0"/>
      <dgm:spPr/>
    </dgm:pt>
    <dgm:pt modelId="{9E5E9951-39AC-405F-B1A3-DFCE05B786AF}" type="pres">
      <dgm:prSet presAssocID="{DE18DE66-160F-4725-BA9F-1763592921B2}" presName="tx1" presStyleLbl="revTx" presStyleIdx="1" presStyleCnt="4"/>
      <dgm:spPr/>
    </dgm:pt>
    <dgm:pt modelId="{AB439B63-57D4-49EF-845A-35D1070591E9}" type="pres">
      <dgm:prSet presAssocID="{DE18DE66-160F-4725-BA9F-1763592921B2}" presName="vert1" presStyleCnt="0"/>
      <dgm:spPr/>
    </dgm:pt>
    <dgm:pt modelId="{B571A0A7-6F57-47CB-9FA4-CF86E6AAA55D}" type="pres">
      <dgm:prSet presAssocID="{DF706178-2220-4FEA-9135-63ABF4683F8D}" presName="thickLine" presStyleLbl="alignNode1" presStyleIdx="2" presStyleCnt="4"/>
      <dgm:spPr/>
    </dgm:pt>
    <dgm:pt modelId="{6921A57E-B43D-476D-9DB8-DFAF6E64AF6A}" type="pres">
      <dgm:prSet presAssocID="{DF706178-2220-4FEA-9135-63ABF4683F8D}" presName="horz1" presStyleCnt="0"/>
      <dgm:spPr/>
    </dgm:pt>
    <dgm:pt modelId="{CEB07E4D-70EB-422E-9F36-108F0DDDA9DB}" type="pres">
      <dgm:prSet presAssocID="{DF706178-2220-4FEA-9135-63ABF4683F8D}" presName="tx1" presStyleLbl="revTx" presStyleIdx="2" presStyleCnt="4"/>
      <dgm:spPr/>
    </dgm:pt>
    <dgm:pt modelId="{5CDA8A47-21B7-410C-9555-6E6F70E3E82A}" type="pres">
      <dgm:prSet presAssocID="{DF706178-2220-4FEA-9135-63ABF4683F8D}" presName="vert1" presStyleCnt="0"/>
      <dgm:spPr/>
    </dgm:pt>
    <dgm:pt modelId="{268F469A-09F3-4EA6-9F79-6B6BCFC7261F}" type="pres">
      <dgm:prSet presAssocID="{A2E5F19F-E73A-48FC-8FB9-C451E068223C}" presName="thickLine" presStyleLbl="alignNode1" presStyleIdx="3" presStyleCnt="4"/>
      <dgm:spPr/>
    </dgm:pt>
    <dgm:pt modelId="{FD646ADA-E808-44F7-98D5-14E6A1C5539D}" type="pres">
      <dgm:prSet presAssocID="{A2E5F19F-E73A-48FC-8FB9-C451E068223C}" presName="horz1" presStyleCnt="0"/>
      <dgm:spPr/>
    </dgm:pt>
    <dgm:pt modelId="{3F8E9FA5-685E-4399-BF10-587C4B3EBB0F}" type="pres">
      <dgm:prSet presAssocID="{A2E5F19F-E73A-48FC-8FB9-C451E068223C}" presName="tx1" presStyleLbl="revTx" presStyleIdx="3" presStyleCnt="4"/>
      <dgm:spPr/>
    </dgm:pt>
    <dgm:pt modelId="{5273E7C3-AEE1-43D5-A82F-5D4346F568C5}" type="pres">
      <dgm:prSet presAssocID="{A2E5F19F-E73A-48FC-8FB9-C451E068223C}" presName="vert1" presStyleCnt="0"/>
      <dgm:spPr/>
    </dgm:pt>
  </dgm:ptLst>
  <dgm:cxnLst>
    <dgm:cxn modelId="{9C170215-769C-4A11-8366-2C57E4794AAA}" srcId="{9E5A8E32-A8B7-42E3-8ED2-02A4693CBDB1}" destId="{DE18DE66-160F-4725-BA9F-1763592921B2}" srcOrd="1" destOrd="0" parTransId="{E17BE872-429B-4431-A0D0-7C03354F27DA}" sibTransId="{2EA78FE9-F1C6-4527-9AA7-D9F0620781C8}"/>
    <dgm:cxn modelId="{29EC9427-967C-4099-A610-C05C4F0DCE60}" type="presOf" srcId="{9E5A8E32-A8B7-42E3-8ED2-02A4693CBDB1}" destId="{70D4BD5E-0055-4383-9AEC-296EDBCF20B7}" srcOrd="0" destOrd="0" presId="urn:microsoft.com/office/officeart/2008/layout/LinedList"/>
    <dgm:cxn modelId="{AD759232-0C77-40B7-98C7-9AEA6D68773F}" srcId="{9E5A8E32-A8B7-42E3-8ED2-02A4693CBDB1}" destId="{6B6D6AA6-19AC-4439-A127-DB1D50B19EAE}" srcOrd="0" destOrd="0" parTransId="{F5387D8B-6FD0-4335-9751-57C90E12CBA6}" sibTransId="{D7F68056-12D7-449B-BAB8-B78B845B68D7}"/>
    <dgm:cxn modelId="{810F6E39-CD46-4894-8F68-D8C9A76D0A96}" srcId="{9E5A8E32-A8B7-42E3-8ED2-02A4693CBDB1}" destId="{A2E5F19F-E73A-48FC-8FB9-C451E068223C}" srcOrd="3" destOrd="0" parTransId="{4175119E-942F-4296-817F-6EDFF4E99080}" sibTransId="{9BC639D1-C9F1-4B1C-A58C-DCBF9E331085}"/>
    <dgm:cxn modelId="{A6E2935B-904D-44F4-8C8E-9AE6E6AA72A6}" type="presOf" srcId="{DF706178-2220-4FEA-9135-63ABF4683F8D}" destId="{CEB07E4D-70EB-422E-9F36-108F0DDDA9DB}" srcOrd="0" destOrd="0" presId="urn:microsoft.com/office/officeart/2008/layout/LinedList"/>
    <dgm:cxn modelId="{4DD4215C-A843-4B9D-9E46-259FF55E2E24}" type="presOf" srcId="{DE18DE66-160F-4725-BA9F-1763592921B2}" destId="{9E5E9951-39AC-405F-B1A3-DFCE05B786AF}" srcOrd="0" destOrd="0" presId="urn:microsoft.com/office/officeart/2008/layout/LinedList"/>
    <dgm:cxn modelId="{00671882-8A22-4F78-B69B-F009291389FE}" srcId="{9E5A8E32-A8B7-42E3-8ED2-02A4693CBDB1}" destId="{DF706178-2220-4FEA-9135-63ABF4683F8D}" srcOrd="2" destOrd="0" parTransId="{7D0FF062-1FAC-4E7E-A70F-AF8229D7E465}" sibTransId="{1C41B50A-2660-4071-8B94-DAB069C8D7B6}"/>
    <dgm:cxn modelId="{E9729590-C9B9-4B3C-8EC5-CDA39A6D3EFB}" type="presOf" srcId="{A2E5F19F-E73A-48FC-8FB9-C451E068223C}" destId="{3F8E9FA5-685E-4399-BF10-587C4B3EBB0F}" srcOrd="0" destOrd="0" presId="urn:microsoft.com/office/officeart/2008/layout/LinedList"/>
    <dgm:cxn modelId="{ABCA4EA1-9A5B-435A-9697-EB1B23E15065}" type="presOf" srcId="{6B6D6AA6-19AC-4439-A127-DB1D50B19EAE}" destId="{2E2D2757-0AB5-41B1-B080-9DECCA5E134C}" srcOrd="0" destOrd="0" presId="urn:microsoft.com/office/officeart/2008/layout/LinedList"/>
    <dgm:cxn modelId="{C474BB45-80DD-4803-A1A0-0767707AEC08}" type="presParOf" srcId="{70D4BD5E-0055-4383-9AEC-296EDBCF20B7}" destId="{713B6192-372C-425D-8A25-01E2FF390F73}" srcOrd="0" destOrd="0" presId="urn:microsoft.com/office/officeart/2008/layout/LinedList"/>
    <dgm:cxn modelId="{E638622C-F1A3-4472-A994-8CB15FC73B63}" type="presParOf" srcId="{70D4BD5E-0055-4383-9AEC-296EDBCF20B7}" destId="{BC5C7830-F01B-4237-8B23-96D581B58099}" srcOrd="1" destOrd="0" presId="urn:microsoft.com/office/officeart/2008/layout/LinedList"/>
    <dgm:cxn modelId="{14103396-86F9-4148-AA69-E36071EC0990}" type="presParOf" srcId="{BC5C7830-F01B-4237-8B23-96D581B58099}" destId="{2E2D2757-0AB5-41B1-B080-9DECCA5E134C}" srcOrd="0" destOrd="0" presId="urn:microsoft.com/office/officeart/2008/layout/LinedList"/>
    <dgm:cxn modelId="{A4AC88FF-C0F7-4060-8EEA-C4D7B63DA93E}" type="presParOf" srcId="{BC5C7830-F01B-4237-8B23-96D581B58099}" destId="{A4AE600E-6B3B-4104-8D97-109862FAA414}" srcOrd="1" destOrd="0" presId="urn:microsoft.com/office/officeart/2008/layout/LinedList"/>
    <dgm:cxn modelId="{DF9A2504-5C77-484A-9946-6992BD674C5E}" type="presParOf" srcId="{70D4BD5E-0055-4383-9AEC-296EDBCF20B7}" destId="{099CCE5E-12E0-46DE-A626-537C85AA88BC}" srcOrd="2" destOrd="0" presId="urn:microsoft.com/office/officeart/2008/layout/LinedList"/>
    <dgm:cxn modelId="{9B12BF70-1107-4FA6-A1B1-28886474660B}" type="presParOf" srcId="{70D4BD5E-0055-4383-9AEC-296EDBCF20B7}" destId="{598D94A8-CF1B-4C18-9488-EA9720EC8092}" srcOrd="3" destOrd="0" presId="urn:microsoft.com/office/officeart/2008/layout/LinedList"/>
    <dgm:cxn modelId="{C82D9E82-B509-4798-A537-F6A2EF5D0D33}" type="presParOf" srcId="{598D94A8-CF1B-4C18-9488-EA9720EC8092}" destId="{9E5E9951-39AC-405F-B1A3-DFCE05B786AF}" srcOrd="0" destOrd="0" presId="urn:microsoft.com/office/officeart/2008/layout/LinedList"/>
    <dgm:cxn modelId="{0101C325-9960-497D-B16F-23FC78BDAD77}" type="presParOf" srcId="{598D94A8-CF1B-4C18-9488-EA9720EC8092}" destId="{AB439B63-57D4-49EF-845A-35D1070591E9}" srcOrd="1" destOrd="0" presId="urn:microsoft.com/office/officeart/2008/layout/LinedList"/>
    <dgm:cxn modelId="{40C92DC2-6EA9-4989-87CB-A07A3896A498}" type="presParOf" srcId="{70D4BD5E-0055-4383-9AEC-296EDBCF20B7}" destId="{B571A0A7-6F57-47CB-9FA4-CF86E6AAA55D}" srcOrd="4" destOrd="0" presId="urn:microsoft.com/office/officeart/2008/layout/LinedList"/>
    <dgm:cxn modelId="{47E41C46-C32F-4530-879A-A6E5A2C24515}" type="presParOf" srcId="{70D4BD5E-0055-4383-9AEC-296EDBCF20B7}" destId="{6921A57E-B43D-476D-9DB8-DFAF6E64AF6A}" srcOrd="5" destOrd="0" presId="urn:microsoft.com/office/officeart/2008/layout/LinedList"/>
    <dgm:cxn modelId="{293A98ED-A3C4-429B-ABC6-432231C4A064}" type="presParOf" srcId="{6921A57E-B43D-476D-9DB8-DFAF6E64AF6A}" destId="{CEB07E4D-70EB-422E-9F36-108F0DDDA9DB}" srcOrd="0" destOrd="0" presId="urn:microsoft.com/office/officeart/2008/layout/LinedList"/>
    <dgm:cxn modelId="{DC1567C3-4E0D-4D1A-98FA-EF2A19805260}" type="presParOf" srcId="{6921A57E-B43D-476D-9DB8-DFAF6E64AF6A}" destId="{5CDA8A47-21B7-410C-9555-6E6F70E3E82A}" srcOrd="1" destOrd="0" presId="urn:microsoft.com/office/officeart/2008/layout/LinedList"/>
    <dgm:cxn modelId="{B4582844-D69C-4A63-A1FA-7BD1F044342B}" type="presParOf" srcId="{70D4BD5E-0055-4383-9AEC-296EDBCF20B7}" destId="{268F469A-09F3-4EA6-9F79-6B6BCFC7261F}" srcOrd="6" destOrd="0" presId="urn:microsoft.com/office/officeart/2008/layout/LinedList"/>
    <dgm:cxn modelId="{B07399E7-3CFD-403B-9BED-F88A0A620C9E}" type="presParOf" srcId="{70D4BD5E-0055-4383-9AEC-296EDBCF20B7}" destId="{FD646ADA-E808-44F7-98D5-14E6A1C5539D}" srcOrd="7" destOrd="0" presId="urn:microsoft.com/office/officeart/2008/layout/LinedList"/>
    <dgm:cxn modelId="{641DCA6D-79F2-4FB2-B96D-605A366207A7}" type="presParOf" srcId="{FD646ADA-E808-44F7-98D5-14E6A1C5539D}" destId="{3F8E9FA5-685E-4399-BF10-587C4B3EBB0F}" srcOrd="0" destOrd="0" presId="urn:microsoft.com/office/officeart/2008/layout/LinedList"/>
    <dgm:cxn modelId="{7CBBA278-A0F9-4719-9E00-E6F97F187720}" type="presParOf" srcId="{FD646ADA-E808-44F7-98D5-14E6A1C5539D}" destId="{5273E7C3-AEE1-43D5-A82F-5D4346F568C5}"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5A8E32-A8B7-42E3-8ED2-02A4693CBDB1}"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B6D6AA6-19AC-4439-A127-DB1D50B19EAE}">
      <dgm:prSet custT="1"/>
      <dgm:spPr/>
      <dgm:t>
        <a:bodyPr/>
        <a:lstStyle/>
        <a:p>
          <a:r>
            <a:rPr lang="en-US" sz="2200"/>
            <a:t>By default, </a:t>
          </a:r>
          <a:r>
            <a:rPr lang="en-US" sz="2200" b="1"/>
            <a:t>all</a:t>
          </a:r>
          <a:r>
            <a:rPr lang="en-US" sz="2200"/>
            <a:t> parameters are positional in the order they are defined</a:t>
          </a:r>
        </a:p>
      </dgm:t>
    </dgm:pt>
    <dgm:pt modelId="{F5387D8B-6FD0-4335-9751-57C90E12CBA6}" type="parTrans" cxnId="{AD759232-0C77-40B7-98C7-9AEA6D68773F}">
      <dgm:prSet/>
      <dgm:spPr/>
      <dgm:t>
        <a:bodyPr/>
        <a:lstStyle/>
        <a:p>
          <a:endParaRPr lang="en-US" sz="2200"/>
        </a:p>
      </dgm:t>
    </dgm:pt>
    <dgm:pt modelId="{D7F68056-12D7-449B-BAB8-B78B845B68D7}" type="sibTrans" cxnId="{AD759232-0C77-40B7-98C7-9AEA6D68773F}">
      <dgm:prSet/>
      <dgm:spPr/>
      <dgm:t>
        <a:bodyPr/>
        <a:lstStyle/>
        <a:p>
          <a:endParaRPr lang="en-US" sz="2200"/>
        </a:p>
      </dgm:t>
    </dgm:pt>
    <dgm:pt modelId="{48F2A821-347B-487A-BE96-245E001F9CCC}">
      <dgm:prSet custT="1"/>
      <dgm:spPr/>
      <dgm:t>
        <a:bodyPr/>
        <a:lstStyle/>
        <a:p>
          <a:r>
            <a:rPr lang="en-US" sz="2200"/>
            <a:t>Positional Binding can be </a:t>
          </a:r>
          <a:r>
            <a:rPr lang="en-US" sz="2200" b="1"/>
            <a:t>disabled</a:t>
          </a:r>
          <a:r>
            <a:rPr lang="en-US" sz="2200"/>
            <a:t> with the </a:t>
          </a:r>
          <a:r>
            <a:rPr lang="en-US" sz="2200" err="1"/>
            <a:t>CmdletBinding</a:t>
          </a:r>
          <a:r>
            <a:rPr lang="en-US" sz="2200"/>
            <a:t> attribute</a:t>
          </a:r>
        </a:p>
      </dgm:t>
    </dgm:pt>
    <dgm:pt modelId="{D8726236-EAD7-48CD-91F9-5CE15571B4D7}" type="parTrans" cxnId="{3617BD67-6E0D-4AF9-9814-92F903C69F77}">
      <dgm:prSet/>
      <dgm:spPr/>
      <dgm:t>
        <a:bodyPr/>
        <a:lstStyle/>
        <a:p>
          <a:endParaRPr lang="en-US" sz="2200"/>
        </a:p>
      </dgm:t>
    </dgm:pt>
    <dgm:pt modelId="{0967CB47-F25B-4BC6-BE8D-887F8F38FE84}" type="sibTrans" cxnId="{3617BD67-6E0D-4AF9-9814-92F903C69F77}">
      <dgm:prSet/>
      <dgm:spPr/>
      <dgm:t>
        <a:bodyPr/>
        <a:lstStyle/>
        <a:p>
          <a:endParaRPr lang="en-US" sz="2200"/>
        </a:p>
      </dgm:t>
    </dgm:pt>
    <dgm:pt modelId="{794E480C-2CF7-49A7-91E4-D151768699E2}">
      <dgm:prSet custT="1"/>
      <dgm:spPr/>
      <dgm:t>
        <a:bodyPr/>
        <a:lstStyle/>
        <a:p>
          <a:r>
            <a:rPr lang="en-US" sz="2200" b="1"/>
            <a:t>Disables</a:t>
          </a:r>
          <a:r>
            <a:rPr lang="en-US" sz="2200"/>
            <a:t> positional binding on non-specified parameters</a:t>
          </a:r>
        </a:p>
      </dgm:t>
    </dgm:pt>
    <dgm:pt modelId="{B656CEB2-1823-42DA-8E43-9A16C893D8BF}" type="parTrans" cxnId="{8AFB2E5B-1535-4994-A478-AFC85CDAB3FA}">
      <dgm:prSet/>
      <dgm:spPr/>
      <dgm:t>
        <a:bodyPr/>
        <a:lstStyle/>
        <a:p>
          <a:endParaRPr lang="en-US"/>
        </a:p>
      </dgm:t>
    </dgm:pt>
    <dgm:pt modelId="{18C3EDAD-6788-4405-8FDC-0461F73C938B}" type="sibTrans" cxnId="{8AFB2E5B-1535-4994-A478-AFC85CDAB3FA}">
      <dgm:prSet/>
      <dgm:spPr/>
      <dgm:t>
        <a:bodyPr/>
        <a:lstStyle/>
        <a:p>
          <a:endParaRPr lang="en-US"/>
        </a:p>
      </dgm:t>
    </dgm:pt>
    <dgm:pt modelId="{38EE0685-6D5F-4554-8104-59EDBAB36235}">
      <dgm:prSet custT="1"/>
      <dgm:spPr/>
      <dgm:t>
        <a:bodyPr/>
        <a:lstStyle/>
        <a:p>
          <a:r>
            <a:rPr lang="en-US" sz="2200"/>
            <a:t>Required to leverage positional binding with </a:t>
          </a:r>
          <a:r>
            <a:rPr lang="en-US" sz="2200" b="1"/>
            <a:t>parameter sets</a:t>
          </a:r>
        </a:p>
      </dgm:t>
    </dgm:pt>
    <dgm:pt modelId="{167F6D6F-244C-4D66-80D8-959FD3C3F228}" type="parTrans" cxnId="{F26F3D88-06C2-49B6-9CC7-96F88749749B}">
      <dgm:prSet/>
      <dgm:spPr/>
      <dgm:t>
        <a:bodyPr/>
        <a:lstStyle/>
        <a:p>
          <a:endParaRPr lang="en-US"/>
        </a:p>
      </dgm:t>
    </dgm:pt>
    <dgm:pt modelId="{77383DC4-249A-4ECC-B5A9-631EE7360586}" type="sibTrans" cxnId="{F26F3D88-06C2-49B6-9CC7-96F88749749B}">
      <dgm:prSet/>
      <dgm:spPr/>
      <dgm:t>
        <a:bodyPr/>
        <a:lstStyle/>
        <a:p>
          <a:endParaRPr lang="en-US"/>
        </a:p>
      </dgm:t>
    </dgm:pt>
    <dgm:pt modelId="{70D4BD5E-0055-4383-9AEC-296EDBCF20B7}" type="pres">
      <dgm:prSet presAssocID="{9E5A8E32-A8B7-42E3-8ED2-02A4693CBDB1}" presName="vert0" presStyleCnt="0">
        <dgm:presLayoutVars>
          <dgm:dir/>
          <dgm:animOne val="branch"/>
          <dgm:animLvl val="lvl"/>
        </dgm:presLayoutVars>
      </dgm:prSet>
      <dgm:spPr/>
    </dgm:pt>
    <dgm:pt modelId="{713B6192-372C-425D-8A25-01E2FF390F73}" type="pres">
      <dgm:prSet presAssocID="{6B6D6AA6-19AC-4439-A127-DB1D50B19EAE}" presName="thickLine" presStyleLbl="alignNode1" presStyleIdx="0" presStyleCnt="4"/>
      <dgm:spPr/>
    </dgm:pt>
    <dgm:pt modelId="{BC5C7830-F01B-4237-8B23-96D581B58099}" type="pres">
      <dgm:prSet presAssocID="{6B6D6AA6-19AC-4439-A127-DB1D50B19EAE}" presName="horz1" presStyleCnt="0"/>
      <dgm:spPr/>
    </dgm:pt>
    <dgm:pt modelId="{2E2D2757-0AB5-41B1-B080-9DECCA5E134C}" type="pres">
      <dgm:prSet presAssocID="{6B6D6AA6-19AC-4439-A127-DB1D50B19EAE}" presName="tx1" presStyleLbl="revTx" presStyleIdx="0" presStyleCnt="4"/>
      <dgm:spPr/>
    </dgm:pt>
    <dgm:pt modelId="{A4AE600E-6B3B-4104-8D97-109862FAA414}" type="pres">
      <dgm:prSet presAssocID="{6B6D6AA6-19AC-4439-A127-DB1D50B19EAE}" presName="vert1" presStyleCnt="0"/>
      <dgm:spPr/>
    </dgm:pt>
    <dgm:pt modelId="{F5360AEB-4B5F-47BF-B029-51C220DAA508}" type="pres">
      <dgm:prSet presAssocID="{794E480C-2CF7-49A7-91E4-D151768699E2}" presName="thickLine" presStyleLbl="alignNode1" presStyleIdx="1" presStyleCnt="4"/>
      <dgm:spPr/>
    </dgm:pt>
    <dgm:pt modelId="{20DEEFF8-8FA9-404A-B899-EC7A3F984C21}" type="pres">
      <dgm:prSet presAssocID="{794E480C-2CF7-49A7-91E4-D151768699E2}" presName="horz1" presStyleCnt="0"/>
      <dgm:spPr/>
    </dgm:pt>
    <dgm:pt modelId="{B555CD04-8F54-4C64-A7A4-3BDD709E8F97}" type="pres">
      <dgm:prSet presAssocID="{794E480C-2CF7-49A7-91E4-D151768699E2}" presName="tx1" presStyleLbl="revTx" presStyleIdx="1" presStyleCnt="4"/>
      <dgm:spPr/>
    </dgm:pt>
    <dgm:pt modelId="{88D22AA0-EE9B-48A0-B60C-B7CD17C2851D}" type="pres">
      <dgm:prSet presAssocID="{794E480C-2CF7-49A7-91E4-D151768699E2}" presName="vert1" presStyleCnt="0"/>
      <dgm:spPr/>
    </dgm:pt>
    <dgm:pt modelId="{8EFFA1F9-B393-48B9-96E3-5333A127D972}" type="pres">
      <dgm:prSet presAssocID="{38EE0685-6D5F-4554-8104-59EDBAB36235}" presName="thickLine" presStyleLbl="alignNode1" presStyleIdx="2" presStyleCnt="4"/>
      <dgm:spPr/>
    </dgm:pt>
    <dgm:pt modelId="{0A3A121F-4904-4C4F-950E-6F1F4FD003CB}" type="pres">
      <dgm:prSet presAssocID="{38EE0685-6D5F-4554-8104-59EDBAB36235}" presName="horz1" presStyleCnt="0"/>
      <dgm:spPr/>
    </dgm:pt>
    <dgm:pt modelId="{50FE27E1-8355-49FE-B708-4D4A85BE43C5}" type="pres">
      <dgm:prSet presAssocID="{38EE0685-6D5F-4554-8104-59EDBAB36235}" presName="tx1" presStyleLbl="revTx" presStyleIdx="2" presStyleCnt="4"/>
      <dgm:spPr/>
    </dgm:pt>
    <dgm:pt modelId="{391C5139-C65E-41F6-8D20-8C9D20C403F7}" type="pres">
      <dgm:prSet presAssocID="{38EE0685-6D5F-4554-8104-59EDBAB36235}" presName="vert1" presStyleCnt="0"/>
      <dgm:spPr/>
    </dgm:pt>
    <dgm:pt modelId="{20FDD5E9-ED9E-4382-9C81-A2A3D1BE0B87}" type="pres">
      <dgm:prSet presAssocID="{48F2A821-347B-487A-BE96-245E001F9CCC}" presName="thickLine" presStyleLbl="alignNode1" presStyleIdx="3" presStyleCnt="4"/>
      <dgm:spPr/>
    </dgm:pt>
    <dgm:pt modelId="{476B5FC6-05A0-463F-BFB0-AC3C840F6F01}" type="pres">
      <dgm:prSet presAssocID="{48F2A821-347B-487A-BE96-245E001F9CCC}" presName="horz1" presStyleCnt="0"/>
      <dgm:spPr/>
    </dgm:pt>
    <dgm:pt modelId="{AFCD09B9-5F5B-4202-874A-B9317A550B62}" type="pres">
      <dgm:prSet presAssocID="{48F2A821-347B-487A-BE96-245E001F9CCC}" presName="tx1" presStyleLbl="revTx" presStyleIdx="3" presStyleCnt="4"/>
      <dgm:spPr/>
    </dgm:pt>
    <dgm:pt modelId="{8E9C0B2F-910E-433F-B7A3-659040141E4B}" type="pres">
      <dgm:prSet presAssocID="{48F2A821-347B-487A-BE96-245E001F9CCC}" presName="vert1" presStyleCnt="0"/>
      <dgm:spPr/>
    </dgm:pt>
  </dgm:ptLst>
  <dgm:cxnLst>
    <dgm:cxn modelId="{FCFBA212-33B2-415E-B362-99729DC49850}" type="presOf" srcId="{794E480C-2CF7-49A7-91E4-D151768699E2}" destId="{B555CD04-8F54-4C64-A7A4-3BDD709E8F97}" srcOrd="0" destOrd="0" presId="urn:microsoft.com/office/officeart/2008/layout/LinedList"/>
    <dgm:cxn modelId="{29EC9427-967C-4099-A610-C05C4F0DCE60}" type="presOf" srcId="{9E5A8E32-A8B7-42E3-8ED2-02A4693CBDB1}" destId="{70D4BD5E-0055-4383-9AEC-296EDBCF20B7}" srcOrd="0" destOrd="0" presId="urn:microsoft.com/office/officeart/2008/layout/LinedList"/>
    <dgm:cxn modelId="{AD759232-0C77-40B7-98C7-9AEA6D68773F}" srcId="{9E5A8E32-A8B7-42E3-8ED2-02A4693CBDB1}" destId="{6B6D6AA6-19AC-4439-A127-DB1D50B19EAE}" srcOrd="0" destOrd="0" parTransId="{F5387D8B-6FD0-4335-9751-57C90E12CBA6}" sibTransId="{D7F68056-12D7-449B-BAB8-B78B845B68D7}"/>
    <dgm:cxn modelId="{8AFB2E5B-1535-4994-A478-AFC85CDAB3FA}" srcId="{9E5A8E32-A8B7-42E3-8ED2-02A4693CBDB1}" destId="{794E480C-2CF7-49A7-91E4-D151768699E2}" srcOrd="1" destOrd="0" parTransId="{B656CEB2-1823-42DA-8E43-9A16C893D8BF}" sibTransId="{18C3EDAD-6788-4405-8FDC-0461F73C938B}"/>
    <dgm:cxn modelId="{3617BD67-6E0D-4AF9-9814-92F903C69F77}" srcId="{9E5A8E32-A8B7-42E3-8ED2-02A4693CBDB1}" destId="{48F2A821-347B-487A-BE96-245E001F9CCC}" srcOrd="3" destOrd="0" parTransId="{D8726236-EAD7-48CD-91F9-5CE15571B4D7}" sibTransId="{0967CB47-F25B-4BC6-BE8D-887F8F38FE84}"/>
    <dgm:cxn modelId="{5D953279-FC30-4A30-BD1D-C9ED397AC62F}" type="presOf" srcId="{38EE0685-6D5F-4554-8104-59EDBAB36235}" destId="{50FE27E1-8355-49FE-B708-4D4A85BE43C5}" srcOrd="0" destOrd="0" presId="urn:microsoft.com/office/officeart/2008/layout/LinedList"/>
    <dgm:cxn modelId="{F26F3D88-06C2-49B6-9CC7-96F88749749B}" srcId="{9E5A8E32-A8B7-42E3-8ED2-02A4693CBDB1}" destId="{38EE0685-6D5F-4554-8104-59EDBAB36235}" srcOrd="2" destOrd="0" parTransId="{167F6D6F-244C-4D66-80D8-959FD3C3F228}" sibTransId="{77383DC4-249A-4ECC-B5A9-631EE7360586}"/>
    <dgm:cxn modelId="{ABCA4EA1-9A5B-435A-9697-EB1B23E15065}" type="presOf" srcId="{6B6D6AA6-19AC-4439-A127-DB1D50B19EAE}" destId="{2E2D2757-0AB5-41B1-B080-9DECCA5E134C}" srcOrd="0" destOrd="0" presId="urn:microsoft.com/office/officeart/2008/layout/LinedList"/>
    <dgm:cxn modelId="{5A37B3CA-A3FE-40B9-B1EC-87E1DF7A90FE}" type="presOf" srcId="{48F2A821-347B-487A-BE96-245E001F9CCC}" destId="{AFCD09B9-5F5B-4202-874A-B9317A550B62}" srcOrd="0" destOrd="0" presId="urn:microsoft.com/office/officeart/2008/layout/LinedList"/>
    <dgm:cxn modelId="{C474BB45-80DD-4803-A1A0-0767707AEC08}" type="presParOf" srcId="{70D4BD5E-0055-4383-9AEC-296EDBCF20B7}" destId="{713B6192-372C-425D-8A25-01E2FF390F73}" srcOrd="0" destOrd="0" presId="urn:microsoft.com/office/officeart/2008/layout/LinedList"/>
    <dgm:cxn modelId="{E638622C-F1A3-4472-A994-8CB15FC73B63}" type="presParOf" srcId="{70D4BD5E-0055-4383-9AEC-296EDBCF20B7}" destId="{BC5C7830-F01B-4237-8B23-96D581B58099}" srcOrd="1" destOrd="0" presId="urn:microsoft.com/office/officeart/2008/layout/LinedList"/>
    <dgm:cxn modelId="{14103396-86F9-4148-AA69-E36071EC0990}" type="presParOf" srcId="{BC5C7830-F01B-4237-8B23-96D581B58099}" destId="{2E2D2757-0AB5-41B1-B080-9DECCA5E134C}" srcOrd="0" destOrd="0" presId="urn:microsoft.com/office/officeart/2008/layout/LinedList"/>
    <dgm:cxn modelId="{A4AC88FF-C0F7-4060-8EEA-C4D7B63DA93E}" type="presParOf" srcId="{BC5C7830-F01B-4237-8B23-96D581B58099}" destId="{A4AE600E-6B3B-4104-8D97-109862FAA414}" srcOrd="1" destOrd="0" presId="urn:microsoft.com/office/officeart/2008/layout/LinedList"/>
    <dgm:cxn modelId="{6666211F-8CAA-4FD5-BACE-0B8ED8236320}" type="presParOf" srcId="{70D4BD5E-0055-4383-9AEC-296EDBCF20B7}" destId="{F5360AEB-4B5F-47BF-B029-51C220DAA508}" srcOrd="2" destOrd="0" presId="urn:microsoft.com/office/officeart/2008/layout/LinedList"/>
    <dgm:cxn modelId="{7D94D9A1-12C0-4FC7-A92C-66F7838D04EA}" type="presParOf" srcId="{70D4BD5E-0055-4383-9AEC-296EDBCF20B7}" destId="{20DEEFF8-8FA9-404A-B899-EC7A3F984C21}" srcOrd="3" destOrd="0" presId="urn:microsoft.com/office/officeart/2008/layout/LinedList"/>
    <dgm:cxn modelId="{47540E83-E75C-4F54-AD8B-1060D37D4546}" type="presParOf" srcId="{20DEEFF8-8FA9-404A-B899-EC7A3F984C21}" destId="{B555CD04-8F54-4C64-A7A4-3BDD709E8F97}" srcOrd="0" destOrd="0" presId="urn:microsoft.com/office/officeart/2008/layout/LinedList"/>
    <dgm:cxn modelId="{DFF8C96F-7308-43A7-9ED8-9113BEFBBE62}" type="presParOf" srcId="{20DEEFF8-8FA9-404A-B899-EC7A3F984C21}" destId="{88D22AA0-EE9B-48A0-B60C-B7CD17C2851D}" srcOrd="1" destOrd="0" presId="urn:microsoft.com/office/officeart/2008/layout/LinedList"/>
    <dgm:cxn modelId="{2232C8CE-4CF6-4979-B81D-32C88FB603DA}" type="presParOf" srcId="{70D4BD5E-0055-4383-9AEC-296EDBCF20B7}" destId="{8EFFA1F9-B393-48B9-96E3-5333A127D972}" srcOrd="4" destOrd="0" presId="urn:microsoft.com/office/officeart/2008/layout/LinedList"/>
    <dgm:cxn modelId="{26317590-3A07-482A-8755-8CDC88CDDD35}" type="presParOf" srcId="{70D4BD5E-0055-4383-9AEC-296EDBCF20B7}" destId="{0A3A121F-4904-4C4F-950E-6F1F4FD003CB}" srcOrd="5" destOrd="0" presId="urn:microsoft.com/office/officeart/2008/layout/LinedList"/>
    <dgm:cxn modelId="{6D876345-4CE6-4ECA-ABDB-3D63909AB700}" type="presParOf" srcId="{0A3A121F-4904-4C4F-950E-6F1F4FD003CB}" destId="{50FE27E1-8355-49FE-B708-4D4A85BE43C5}" srcOrd="0" destOrd="0" presId="urn:microsoft.com/office/officeart/2008/layout/LinedList"/>
    <dgm:cxn modelId="{1B089814-AB5C-4D36-8B73-AF8CFC2945BD}" type="presParOf" srcId="{0A3A121F-4904-4C4F-950E-6F1F4FD003CB}" destId="{391C5139-C65E-41F6-8D20-8C9D20C403F7}" srcOrd="1" destOrd="0" presId="urn:microsoft.com/office/officeart/2008/layout/LinedList"/>
    <dgm:cxn modelId="{020AC794-21E6-4A43-BA7D-8EA170FCF57C}" type="presParOf" srcId="{70D4BD5E-0055-4383-9AEC-296EDBCF20B7}" destId="{20FDD5E9-ED9E-4382-9C81-A2A3D1BE0B87}" srcOrd="6" destOrd="0" presId="urn:microsoft.com/office/officeart/2008/layout/LinedList"/>
    <dgm:cxn modelId="{EB8A39D7-B987-4C85-8629-8D5DBA743928}" type="presParOf" srcId="{70D4BD5E-0055-4383-9AEC-296EDBCF20B7}" destId="{476B5FC6-05A0-463F-BFB0-AC3C840F6F01}" srcOrd="7" destOrd="0" presId="urn:microsoft.com/office/officeart/2008/layout/LinedList"/>
    <dgm:cxn modelId="{683C80BA-5B94-477C-B424-DCE704DBF954}" type="presParOf" srcId="{476B5FC6-05A0-463F-BFB0-AC3C840F6F01}" destId="{AFCD09B9-5F5B-4202-874A-B9317A550B62}" srcOrd="0" destOrd="0" presId="urn:microsoft.com/office/officeart/2008/layout/LinedList"/>
    <dgm:cxn modelId="{1E03BD1C-3904-4542-89EF-57EBBBF39B68}" type="presParOf" srcId="{476B5FC6-05A0-463F-BFB0-AC3C840F6F01}" destId="{8E9C0B2F-910E-433F-B7A3-659040141E4B}"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38A8507-3853-4AD4-B4BB-1AEDA80CBDC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5D3BD48-FC52-4353-B786-AB0EB05FE113}">
      <dgm:prSet custT="1"/>
      <dgm:spPr/>
      <dgm:t>
        <a:bodyPr/>
        <a:lstStyle/>
        <a:p>
          <a:r>
            <a:rPr lang="en-US" sz="2600" b="1"/>
            <a:t>Specifies</a:t>
          </a:r>
          <a:r>
            <a:rPr lang="en-US" sz="2600"/>
            <a:t> the parameter set the parameter belongs to</a:t>
          </a:r>
        </a:p>
      </dgm:t>
    </dgm:pt>
    <dgm:pt modelId="{5A1C3539-019B-4847-BE5F-751F741D7EDE}" type="parTrans" cxnId="{42E6B2E2-A6FE-45DE-8611-2A9ACF6068D2}">
      <dgm:prSet/>
      <dgm:spPr/>
      <dgm:t>
        <a:bodyPr/>
        <a:lstStyle/>
        <a:p>
          <a:endParaRPr lang="en-US" sz="2600"/>
        </a:p>
      </dgm:t>
    </dgm:pt>
    <dgm:pt modelId="{85D2AEBB-8150-46BC-8DE8-4BBACECADAC3}" type="sibTrans" cxnId="{42E6B2E2-A6FE-45DE-8611-2A9ACF6068D2}">
      <dgm:prSet/>
      <dgm:spPr/>
      <dgm:t>
        <a:bodyPr/>
        <a:lstStyle/>
        <a:p>
          <a:endParaRPr lang="en-US" sz="2600"/>
        </a:p>
      </dgm:t>
    </dgm:pt>
    <dgm:pt modelId="{6922C92B-8364-4FB6-B9BF-1D8B59C95574}">
      <dgm:prSet custT="1"/>
      <dgm:spPr/>
      <dgm:t>
        <a:bodyPr/>
        <a:lstStyle/>
        <a:p>
          <a:r>
            <a:rPr lang="en-US" sz="2600"/>
            <a:t>Parameter sets </a:t>
          </a:r>
          <a:r>
            <a:rPr lang="en-US" sz="2600" b="1"/>
            <a:t>must</a:t>
          </a:r>
          <a:r>
            <a:rPr lang="en-US" sz="2600"/>
            <a:t> have at least one </a:t>
          </a:r>
          <a:r>
            <a:rPr lang="en-US" sz="2600" b="1"/>
            <a:t>unique</a:t>
          </a:r>
          <a:r>
            <a:rPr lang="en-US" sz="2600"/>
            <a:t> parameter</a:t>
          </a:r>
        </a:p>
      </dgm:t>
    </dgm:pt>
    <dgm:pt modelId="{7E540131-A768-4574-9591-4E458BF1524E}" type="parTrans" cxnId="{33F21569-7C60-479D-87F4-F87BAF5BAA1E}">
      <dgm:prSet/>
      <dgm:spPr/>
      <dgm:t>
        <a:bodyPr/>
        <a:lstStyle/>
        <a:p>
          <a:endParaRPr lang="en-US" sz="2600"/>
        </a:p>
      </dgm:t>
    </dgm:pt>
    <dgm:pt modelId="{8BC95EA2-68E4-435D-AA82-E78EB96D451E}" type="sibTrans" cxnId="{33F21569-7C60-479D-87F4-F87BAF5BAA1E}">
      <dgm:prSet/>
      <dgm:spPr/>
      <dgm:t>
        <a:bodyPr/>
        <a:lstStyle/>
        <a:p>
          <a:endParaRPr lang="en-US" sz="2600"/>
        </a:p>
      </dgm:t>
    </dgm:pt>
    <dgm:pt modelId="{629A78E7-F6DA-4B23-A83F-F47832CC6678}">
      <dgm:prSet custT="1"/>
      <dgm:spPr/>
      <dgm:t>
        <a:bodyPr/>
        <a:lstStyle/>
        <a:p>
          <a:r>
            <a:rPr lang="en-US" sz="2600"/>
            <a:t>A parameter belongs to </a:t>
          </a:r>
          <a:r>
            <a:rPr lang="en-US" sz="2600" b="1"/>
            <a:t>all</a:t>
          </a:r>
          <a:r>
            <a:rPr lang="en-US" sz="2600"/>
            <a:t> parameter sets if not specified</a:t>
          </a:r>
        </a:p>
      </dgm:t>
    </dgm:pt>
    <dgm:pt modelId="{EE045041-94D4-422E-93BC-190C6212410E}" type="parTrans" cxnId="{6D0D1695-41E0-4603-9C78-4CDFB24DFA1C}">
      <dgm:prSet/>
      <dgm:spPr/>
      <dgm:t>
        <a:bodyPr/>
        <a:lstStyle/>
        <a:p>
          <a:endParaRPr lang="en-US" sz="2600"/>
        </a:p>
      </dgm:t>
    </dgm:pt>
    <dgm:pt modelId="{23FD0AAA-5B84-4138-8CF1-F65AAD94E19D}" type="sibTrans" cxnId="{6D0D1695-41E0-4603-9C78-4CDFB24DFA1C}">
      <dgm:prSet/>
      <dgm:spPr/>
      <dgm:t>
        <a:bodyPr/>
        <a:lstStyle/>
        <a:p>
          <a:endParaRPr lang="en-US" sz="2600"/>
        </a:p>
      </dgm:t>
    </dgm:pt>
    <dgm:pt modelId="{AC67DB78-7B14-4B1D-BE65-4BA8D79B3E23}" type="pres">
      <dgm:prSet presAssocID="{338A8507-3853-4AD4-B4BB-1AEDA80CBDC3}" presName="vert0" presStyleCnt="0">
        <dgm:presLayoutVars>
          <dgm:dir/>
          <dgm:animOne val="branch"/>
          <dgm:animLvl val="lvl"/>
        </dgm:presLayoutVars>
      </dgm:prSet>
      <dgm:spPr/>
    </dgm:pt>
    <dgm:pt modelId="{68C8235C-70CE-4CEB-8BE4-6CC0BBE11C50}" type="pres">
      <dgm:prSet presAssocID="{95D3BD48-FC52-4353-B786-AB0EB05FE113}" presName="thickLine" presStyleLbl="alignNode1" presStyleIdx="0" presStyleCnt="3"/>
      <dgm:spPr/>
    </dgm:pt>
    <dgm:pt modelId="{21991984-1522-4D63-A45A-50C95E7D0D7D}" type="pres">
      <dgm:prSet presAssocID="{95D3BD48-FC52-4353-B786-AB0EB05FE113}" presName="horz1" presStyleCnt="0"/>
      <dgm:spPr/>
    </dgm:pt>
    <dgm:pt modelId="{54C454DE-0F92-46C4-B8D1-042CD7DBB52E}" type="pres">
      <dgm:prSet presAssocID="{95D3BD48-FC52-4353-B786-AB0EB05FE113}" presName="tx1" presStyleLbl="revTx" presStyleIdx="0" presStyleCnt="3"/>
      <dgm:spPr/>
    </dgm:pt>
    <dgm:pt modelId="{56F85312-4421-4F3E-BFFB-F17CB7AC2AFF}" type="pres">
      <dgm:prSet presAssocID="{95D3BD48-FC52-4353-B786-AB0EB05FE113}" presName="vert1" presStyleCnt="0"/>
      <dgm:spPr/>
    </dgm:pt>
    <dgm:pt modelId="{D90228C4-3832-4A98-B1E4-B2EED7FECC07}" type="pres">
      <dgm:prSet presAssocID="{6922C92B-8364-4FB6-B9BF-1D8B59C95574}" presName="thickLine" presStyleLbl="alignNode1" presStyleIdx="1" presStyleCnt="3"/>
      <dgm:spPr/>
    </dgm:pt>
    <dgm:pt modelId="{A3702827-CDC3-473E-AC37-A7F05EAF3098}" type="pres">
      <dgm:prSet presAssocID="{6922C92B-8364-4FB6-B9BF-1D8B59C95574}" presName="horz1" presStyleCnt="0"/>
      <dgm:spPr/>
    </dgm:pt>
    <dgm:pt modelId="{AD734965-96F0-4151-8E8E-D9887DC7BF1D}" type="pres">
      <dgm:prSet presAssocID="{6922C92B-8364-4FB6-B9BF-1D8B59C95574}" presName="tx1" presStyleLbl="revTx" presStyleIdx="1" presStyleCnt="3"/>
      <dgm:spPr/>
    </dgm:pt>
    <dgm:pt modelId="{E1B8F7B1-56D8-4FF0-A0E7-423F7F2C75B7}" type="pres">
      <dgm:prSet presAssocID="{6922C92B-8364-4FB6-B9BF-1D8B59C95574}" presName="vert1" presStyleCnt="0"/>
      <dgm:spPr/>
    </dgm:pt>
    <dgm:pt modelId="{157ABFB7-D410-4F50-814F-D85703AB9D34}" type="pres">
      <dgm:prSet presAssocID="{629A78E7-F6DA-4B23-A83F-F47832CC6678}" presName="thickLine" presStyleLbl="alignNode1" presStyleIdx="2" presStyleCnt="3"/>
      <dgm:spPr/>
    </dgm:pt>
    <dgm:pt modelId="{70C34521-BFE5-46EE-A001-0F737C134283}" type="pres">
      <dgm:prSet presAssocID="{629A78E7-F6DA-4B23-A83F-F47832CC6678}" presName="horz1" presStyleCnt="0"/>
      <dgm:spPr/>
    </dgm:pt>
    <dgm:pt modelId="{5F4379A9-2FFE-4688-B999-6F443EEA69AD}" type="pres">
      <dgm:prSet presAssocID="{629A78E7-F6DA-4B23-A83F-F47832CC6678}" presName="tx1" presStyleLbl="revTx" presStyleIdx="2" presStyleCnt="3"/>
      <dgm:spPr/>
    </dgm:pt>
    <dgm:pt modelId="{0901331F-01C2-48C4-8AB6-7C0AD8667F43}" type="pres">
      <dgm:prSet presAssocID="{629A78E7-F6DA-4B23-A83F-F47832CC6678}" presName="vert1" presStyleCnt="0"/>
      <dgm:spPr/>
    </dgm:pt>
  </dgm:ptLst>
  <dgm:cxnLst>
    <dgm:cxn modelId="{5F991D37-2021-4DCC-956A-C25F75D28282}" type="presOf" srcId="{338A8507-3853-4AD4-B4BB-1AEDA80CBDC3}" destId="{AC67DB78-7B14-4B1D-BE65-4BA8D79B3E23}" srcOrd="0" destOrd="0" presId="urn:microsoft.com/office/officeart/2008/layout/LinedList"/>
    <dgm:cxn modelId="{33F21569-7C60-479D-87F4-F87BAF5BAA1E}" srcId="{338A8507-3853-4AD4-B4BB-1AEDA80CBDC3}" destId="{6922C92B-8364-4FB6-B9BF-1D8B59C95574}" srcOrd="1" destOrd="0" parTransId="{7E540131-A768-4574-9591-4E458BF1524E}" sibTransId="{8BC95EA2-68E4-435D-AA82-E78EB96D451E}"/>
    <dgm:cxn modelId="{6D0D1695-41E0-4603-9C78-4CDFB24DFA1C}" srcId="{338A8507-3853-4AD4-B4BB-1AEDA80CBDC3}" destId="{629A78E7-F6DA-4B23-A83F-F47832CC6678}" srcOrd="2" destOrd="0" parTransId="{EE045041-94D4-422E-93BC-190C6212410E}" sibTransId="{23FD0AAA-5B84-4138-8CF1-F65AAD94E19D}"/>
    <dgm:cxn modelId="{DE4E06CF-5B90-469C-AECC-3DF9D4499761}" type="presOf" srcId="{6922C92B-8364-4FB6-B9BF-1D8B59C95574}" destId="{AD734965-96F0-4151-8E8E-D9887DC7BF1D}" srcOrd="0" destOrd="0" presId="urn:microsoft.com/office/officeart/2008/layout/LinedList"/>
    <dgm:cxn modelId="{42E6B2E2-A6FE-45DE-8611-2A9ACF6068D2}" srcId="{338A8507-3853-4AD4-B4BB-1AEDA80CBDC3}" destId="{95D3BD48-FC52-4353-B786-AB0EB05FE113}" srcOrd="0" destOrd="0" parTransId="{5A1C3539-019B-4847-BE5F-751F741D7EDE}" sibTransId="{85D2AEBB-8150-46BC-8DE8-4BBACECADAC3}"/>
    <dgm:cxn modelId="{98B5A5F7-6163-4CB7-B028-7A65B59910B4}" type="presOf" srcId="{95D3BD48-FC52-4353-B786-AB0EB05FE113}" destId="{54C454DE-0F92-46C4-B8D1-042CD7DBB52E}" srcOrd="0" destOrd="0" presId="urn:microsoft.com/office/officeart/2008/layout/LinedList"/>
    <dgm:cxn modelId="{9CD60DFF-2CC2-45A1-AC9D-D451B2FFDDC5}" type="presOf" srcId="{629A78E7-F6DA-4B23-A83F-F47832CC6678}" destId="{5F4379A9-2FFE-4688-B999-6F443EEA69AD}" srcOrd="0" destOrd="0" presId="urn:microsoft.com/office/officeart/2008/layout/LinedList"/>
    <dgm:cxn modelId="{A9BECF4A-1845-4CE9-BA24-2AC7D923700E}" type="presParOf" srcId="{AC67DB78-7B14-4B1D-BE65-4BA8D79B3E23}" destId="{68C8235C-70CE-4CEB-8BE4-6CC0BBE11C50}" srcOrd="0" destOrd="0" presId="urn:microsoft.com/office/officeart/2008/layout/LinedList"/>
    <dgm:cxn modelId="{468854AA-2A37-4F69-8332-F796D48EF90C}" type="presParOf" srcId="{AC67DB78-7B14-4B1D-BE65-4BA8D79B3E23}" destId="{21991984-1522-4D63-A45A-50C95E7D0D7D}" srcOrd="1" destOrd="0" presId="urn:microsoft.com/office/officeart/2008/layout/LinedList"/>
    <dgm:cxn modelId="{018D40A2-69DD-4620-97C2-A58789A394CD}" type="presParOf" srcId="{21991984-1522-4D63-A45A-50C95E7D0D7D}" destId="{54C454DE-0F92-46C4-B8D1-042CD7DBB52E}" srcOrd="0" destOrd="0" presId="urn:microsoft.com/office/officeart/2008/layout/LinedList"/>
    <dgm:cxn modelId="{801C14F2-C655-4101-B4E2-0BADC16541E0}" type="presParOf" srcId="{21991984-1522-4D63-A45A-50C95E7D0D7D}" destId="{56F85312-4421-4F3E-BFFB-F17CB7AC2AFF}" srcOrd="1" destOrd="0" presId="urn:microsoft.com/office/officeart/2008/layout/LinedList"/>
    <dgm:cxn modelId="{95F61C7D-2FEB-4E80-ACE4-46DD4ED78EC3}" type="presParOf" srcId="{AC67DB78-7B14-4B1D-BE65-4BA8D79B3E23}" destId="{D90228C4-3832-4A98-B1E4-B2EED7FECC07}" srcOrd="2" destOrd="0" presId="urn:microsoft.com/office/officeart/2008/layout/LinedList"/>
    <dgm:cxn modelId="{D6CA1DB2-3487-416A-84DC-8C55EBEB75C0}" type="presParOf" srcId="{AC67DB78-7B14-4B1D-BE65-4BA8D79B3E23}" destId="{A3702827-CDC3-473E-AC37-A7F05EAF3098}" srcOrd="3" destOrd="0" presId="urn:microsoft.com/office/officeart/2008/layout/LinedList"/>
    <dgm:cxn modelId="{524CB3BE-8445-436F-8933-4CFDCB21C534}" type="presParOf" srcId="{A3702827-CDC3-473E-AC37-A7F05EAF3098}" destId="{AD734965-96F0-4151-8E8E-D9887DC7BF1D}" srcOrd="0" destOrd="0" presId="urn:microsoft.com/office/officeart/2008/layout/LinedList"/>
    <dgm:cxn modelId="{51A141CA-56F7-4A2D-9644-E0AA2B01CDD4}" type="presParOf" srcId="{A3702827-CDC3-473E-AC37-A7F05EAF3098}" destId="{E1B8F7B1-56D8-4FF0-A0E7-423F7F2C75B7}" srcOrd="1" destOrd="0" presId="urn:microsoft.com/office/officeart/2008/layout/LinedList"/>
    <dgm:cxn modelId="{5651743F-E200-4205-8976-28FC8D1C40F4}" type="presParOf" srcId="{AC67DB78-7B14-4B1D-BE65-4BA8D79B3E23}" destId="{157ABFB7-D410-4F50-814F-D85703AB9D34}" srcOrd="4" destOrd="0" presId="urn:microsoft.com/office/officeart/2008/layout/LinedList"/>
    <dgm:cxn modelId="{98B5E594-D66F-425B-A204-7DE35BDB0D4C}" type="presParOf" srcId="{AC67DB78-7B14-4B1D-BE65-4BA8D79B3E23}" destId="{70C34521-BFE5-46EE-A001-0F737C134283}" srcOrd="5" destOrd="0" presId="urn:microsoft.com/office/officeart/2008/layout/LinedList"/>
    <dgm:cxn modelId="{FC01026D-74B7-41CA-8E33-7FA0B7589F0A}" type="presParOf" srcId="{70C34521-BFE5-46EE-A001-0F737C134283}" destId="{5F4379A9-2FFE-4688-B999-6F443EEA69AD}" srcOrd="0" destOrd="0" presId="urn:microsoft.com/office/officeart/2008/layout/LinedList"/>
    <dgm:cxn modelId="{C7A65ADC-052E-45F2-BF23-90D71FCDE902}" type="presParOf" srcId="{70C34521-BFE5-46EE-A001-0F737C134283}" destId="{0901331F-01C2-48C4-8AB6-7C0AD8667F43}"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96E20CE-8F30-4FD4-8EAA-5F0CE46589CF}" type="doc">
      <dgm:prSet loTypeId="urn:microsoft.com/office/officeart/2008/layout/AlternatingPictureBlocks" loCatId="list" qsTypeId="urn:microsoft.com/office/officeart/2005/8/quickstyle/simple1" qsCatId="simple" csTypeId="urn:microsoft.com/office/officeart/2005/8/colors/colorful2" csCatId="colorful" phldr="1"/>
      <dgm:spPr/>
      <dgm:t>
        <a:bodyPr/>
        <a:lstStyle/>
        <a:p>
          <a:endParaRPr lang="en-US"/>
        </a:p>
      </dgm:t>
    </dgm:pt>
    <dgm:pt modelId="{E93ECBB0-6239-41A9-97B6-B3FCE9D07088}">
      <dgm:prSet custT="1"/>
      <dgm:spPr>
        <a:ln>
          <a:noFill/>
        </a:ln>
      </dgm:spPr>
      <dgm:t>
        <a:bodyPr/>
        <a:lstStyle/>
        <a:p>
          <a:r>
            <a:rPr lang="en-US" sz="2000"/>
            <a:t>The pipeline object </a:t>
          </a:r>
          <a:r>
            <a:rPr lang="en-US" sz="2000" b="1"/>
            <a:t>binds</a:t>
          </a:r>
          <a:r>
            <a:rPr lang="en-US" sz="2000"/>
            <a:t> to the parameter value</a:t>
          </a:r>
        </a:p>
      </dgm:t>
    </dgm:pt>
    <dgm:pt modelId="{E0654FCE-9AC3-4110-960C-F969FDDB5696}" type="parTrans" cxnId="{E36ADDE1-1ADA-4B82-B80E-5CA00E233116}">
      <dgm:prSet/>
      <dgm:spPr/>
      <dgm:t>
        <a:bodyPr/>
        <a:lstStyle/>
        <a:p>
          <a:endParaRPr lang="en-US" sz="2000"/>
        </a:p>
      </dgm:t>
    </dgm:pt>
    <dgm:pt modelId="{8A02EC9C-5E29-4004-86C8-B11C0F05C6FD}" type="sibTrans" cxnId="{E36ADDE1-1ADA-4B82-B80E-5CA00E233116}">
      <dgm:prSet/>
      <dgm:spPr/>
      <dgm:t>
        <a:bodyPr/>
        <a:lstStyle/>
        <a:p>
          <a:endParaRPr lang="en-US" sz="2000"/>
        </a:p>
      </dgm:t>
    </dgm:pt>
    <dgm:pt modelId="{F0ED3C2D-BEF0-43AF-AAD9-0824E411EAE2}">
      <dgm:prSet custT="1"/>
      <dgm:spPr>
        <a:ln>
          <a:noFill/>
        </a:ln>
      </dgm:spPr>
      <dgm:t>
        <a:bodyPr/>
        <a:lstStyle/>
        <a:p>
          <a:r>
            <a:rPr lang="en-US" sz="2000"/>
            <a:t>Object on the pipeline is </a:t>
          </a:r>
          <a:r>
            <a:rPr lang="en-US" sz="2000" b="1"/>
            <a:t>converted</a:t>
          </a:r>
          <a:r>
            <a:rPr lang="en-US" sz="2000"/>
            <a:t> to match the parameter type(s)</a:t>
          </a:r>
        </a:p>
      </dgm:t>
    </dgm:pt>
    <dgm:pt modelId="{46B84A40-4B28-4774-AF0B-EC55586B521B}" type="parTrans" cxnId="{80D19334-387E-466C-B6FB-8FD19520D0BD}">
      <dgm:prSet/>
      <dgm:spPr/>
      <dgm:t>
        <a:bodyPr/>
        <a:lstStyle/>
        <a:p>
          <a:endParaRPr lang="en-US" sz="2000"/>
        </a:p>
      </dgm:t>
    </dgm:pt>
    <dgm:pt modelId="{1C4B41D2-9765-4FFB-93A3-8BE8C447102C}" type="sibTrans" cxnId="{80D19334-387E-466C-B6FB-8FD19520D0BD}">
      <dgm:prSet/>
      <dgm:spPr/>
      <dgm:t>
        <a:bodyPr/>
        <a:lstStyle/>
        <a:p>
          <a:endParaRPr lang="en-US" sz="2000"/>
        </a:p>
      </dgm:t>
    </dgm:pt>
    <dgm:pt modelId="{39B84FA1-6379-45C2-9D05-31D41B4EEFC7}">
      <dgm:prSet custT="1"/>
      <dgm:spPr>
        <a:solidFill>
          <a:srgbClr val="054B16"/>
        </a:solidFill>
        <a:ln>
          <a:noFill/>
        </a:ln>
      </dgm:spPr>
      <dgm:t>
        <a:bodyPr/>
        <a:lstStyle/>
        <a:p>
          <a:r>
            <a:rPr lang="en-US" sz="2000" b="1"/>
            <a:t>Any</a:t>
          </a:r>
          <a:r>
            <a:rPr lang="en-US" sz="2000"/>
            <a:t> parameter with this attribute can get a copy of the value</a:t>
          </a:r>
        </a:p>
      </dgm:t>
    </dgm:pt>
    <dgm:pt modelId="{6335A6F2-BE31-486A-8DCD-D52D177523A9}" type="parTrans" cxnId="{64A61634-D966-47E4-9B5C-3CA326A2D216}">
      <dgm:prSet/>
      <dgm:spPr/>
      <dgm:t>
        <a:bodyPr/>
        <a:lstStyle/>
        <a:p>
          <a:endParaRPr lang="en-US" sz="2000"/>
        </a:p>
      </dgm:t>
    </dgm:pt>
    <dgm:pt modelId="{FCF3598D-E202-4767-8FA3-961311B44854}" type="sibTrans" cxnId="{64A61634-D966-47E4-9B5C-3CA326A2D216}">
      <dgm:prSet/>
      <dgm:spPr/>
      <dgm:t>
        <a:bodyPr/>
        <a:lstStyle/>
        <a:p>
          <a:endParaRPr lang="en-US" sz="2000"/>
        </a:p>
      </dgm:t>
    </dgm:pt>
    <dgm:pt modelId="{2E238625-A8BD-41CC-ADAF-1550D6001208}">
      <dgm:prSet custT="1"/>
      <dgm:spPr>
        <a:solidFill>
          <a:srgbClr val="5C005C"/>
        </a:solidFill>
        <a:ln>
          <a:noFill/>
        </a:ln>
      </dgm:spPr>
      <dgm:t>
        <a:bodyPr/>
        <a:lstStyle/>
        <a:p>
          <a:r>
            <a:rPr lang="en-US" sz="2000"/>
            <a:t>Best practice is to only use on </a:t>
          </a:r>
          <a:r>
            <a:rPr lang="en-US" sz="2000" b="1"/>
            <a:t>one</a:t>
          </a:r>
          <a:r>
            <a:rPr lang="en-US" sz="2000"/>
            <a:t> parameter per set</a:t>
          </a:r>
        </a:p>
      </dgm:t>
    </dgm:pt>
    <dgm:pt modelId="{B95E7AAD-5DA8-4FE3-8AE2-B6E9BD6BC9D0}" type="parTrans" cxnId="{C6E57A39-734C-42D9-8E8D-54E50C8FCF36}">
      <dgm:prSet/>
      <dgm:spPr/>
      <dgm:t>
        <a:bodyPr/>
        <a:lstStyle/>
        <a:p>
          <a:endParaRPr lang="en-US" sz="2000"/>
        </a:p>
      </dgm:t>
    </dgm:pt>
    <dgm:pt modelId="{74218F59-5202-4E6C-8A5C-3B8232DF58B0}" type="sibTrans" cxnId="{C6E57A39-734C-42D9-8E8D-54E50C8FCF36}">
      <dgm:prSet/>
      <dgm:spPr/>
      <dgm:t>
        <a:bodyPr/>
        <a:lstStyle/>
        <a:p>
          <a:endParaRPr lang="en-US" sz="2000"/>
        </a:p>
      </dgm:t>
    </dgm:pt>
    <dgm:pt modelId="{5FE97FE7-A1F1-4DEE-AACD-61D4E3B24FC7}">
      <dgm:prSet custT="1"/>
      <dgm:spPr>
        <a:solidFill>
          <a:schemeClr val="accent5">
            <a:lumMod val="50000"/>
          </a:schemeClr>
        </a:solidFill>
        <a:ln>
          <a:noFill/>
        </a:ln>
      </dgm:spPr>
      <dgm:t>
        <a:bodyPr/>
        <a:lstStyle/>
        <a:p>
          <a:r>
            <a:rPr lang="en-US" sz="2000"/>
            <a:t>Use </a:t>
          </a:r>
          <a:r>
            <a:rPr lang="en-US" sz="2000" b="1"/>
            <a:t>process{} </a:t>
          </a:r>
          <a:r>
            <a:rPr lang="en-US" sz="2000"/>
            <a:t>block for multiple pipeline objects</a:t>
          </a:r>
        </a:p>
      </dgm:t>
    </dgm:pt>
    <dgm:pt modelId="{9F93DCD6-8907-478E-9BDA-D85A54554457}" type="parTrans" cxnId="{A5EBDDF2-6CD7-407A-9329-7217B1B2A510}">
      <dgm:prSet/>
      <dgm:spPr/>
      <dgm:t>
        <a:bodyPr/>
        <a:lstStyle/>
        <a:p>
          <a:endParaRPr lang="en-US" sz="2000"/>
        </a:p>
      </dgm:t>
    </dgm:pt>
    <dgm:pt modelId="{B0777D57-AF2D-4DAA-B845-15ED5BDE4F83}" type="sibTrans" cxnId="{A5EBDDF2-6CD7-407A-9329-7217B1B2A510}">
      <dgm:prSet/>
      <dgm:spPr/>
      <dgm:t>
        <a:bodyPr/>
        <a:lstStyle/>
        <a:p>
          <a:endParaRPr lang="en-US" sz="2000"/>
        </a:p>
      </dgm:t>
    </dgm:pt>
    <dgm:pt modelId="{7D39E72C-BA7E-4758-9695-0A9A1BEBD018}" type="pres">
      <dgm:prSet presAssocID="{C96E20CE-8F30-4FD4-8EAA-5F0CE46589CF}" presName="linearFlow" presStyleCnt="0">
        <dgm:presLayoutVars>
          <dgm:dir/>
          <dgm:resizeHandles val="exact"/>
        </dgm:presLayoutVars>
      </dgm:prSet>
      <dgm:spPr/>
    </dgm:pt>
    <dgm:pt modelId="{490DAAB3-B973-4335-BED2-DBE52EE88538}" type="pres">
      <dgm:prSet presAssocID="{E93ECBB0-6239-41A9-97B6-B3FCE9D07088}" presName="comp" presStyleCnt="0"/>
      <dgm:spPr/>
    </dgm:pt>
    <dgm:pt modelId="{F581DB7E-14A2-4EA2-A290-2023AF3E3B0A}" type="pres">
      <dgm:prSet presAssocID="{E93ECBB0-6239-41A9-97B6-B3FCE9D07088}" presName="rect2" presStyleLbl="node1" presStyleIdx="0" presStyleCnt="5" custScaleX="191117" custLinFactNeighborX="48050">
        <dgm:presLayoutVars>
          <dgm:bulletEnabled val="1"/>
        </dgm:presLayoutVars>
      </dgm:prSet>
      <dgm:spPr/>
    </dgm:pt>
    <dgm:pt modelId="{C543BBA2-EBC4-4647-B74F-50E64C4EB354}" type="pres">
      <dgm:prSet presAssocID="{E93ECBB0-6239-41A9-97B6-B3FCE9D07088}" presName="rect1" presStyleLbl="lnNode1" presStyleIdx="0" presStyleCnt="5" custLinFactNeighborX="-46267"/>
      <dgm:spPr>
        <a:blipFill>
          <a:blip xmlns:r="http://schemas.openxmlformats.org/officeDocument/2006/relationships" r:embed="rId1">
            <a:extLst>
              <a:ext uri="{96DAC541-7B7A-43D3-8B79-37D633B846F1}">
                <asvg:svgBlip xmlns:asvg="http://schemas.microsoft.com/office/drawing/2016/SVG/main" r:embed="rId2"/>
              </a:ext>
            </a:extLst>
          </a:blip>
          <a:srcRect/>
          <a:stretch>
            <a:fillRect l="-1000" r="-1000"/>
          </a:stretch>
        </a:blipFill>
      </dgm:spPr>
      <dgm:extLst>
        <a:ext uri="{E40237B7-FDA0-4F09-8148-C483321AD2D9}">
          <dgm14:cNvPr xmlns:dgm14="http://schemas.microsoft.com/office/drawing/2010/diagram" id="0" name="" descr="Link with solid fill"/>
        </a:ext>
      </dgm:extLst>
    </dgm:pt>
    <dgm:pt modelId="{593AB843-FC59-4D8E-BCA4-F25E6102A8EC}" type="pres">
      <dgm:prSet presAssocID="{8A02EC9C-5E29-4004-86C8-B11C0F05C6FD}" presName="sibTrans" presStyleCnt="0"/>
      <dgm:spPr/>
    </dgm:pt>
    <dgm:pt modelId="{DF1698B8-C51B-4D34-AB45-CF44156A1DCD}" type="pres">
      <dgm:prSet presAssocID="{F0ED3C2D-BEF0-43AF-AAD9-0824E411EAE2}" presName="comp" presStyleCnt="0"/>
      <dgm:spPr/>
    </dgm:pt>
    <dgm:pt modelId="{3473D1FB-F6C4-4848-BA65-59DD89E60C94}" type="pres">
      <dgm:prSet presAssocID="{F0ED3C2D-BEF0-43AF-AAD9-0824E411EAE2}" presName="rect2" presStyleLbl="node1" presStyleIdx="1" presStyleCnt="5" custScaleX="191117" custLinFactNeighborX="-20940">
        <dgm:presLayoutVars>
          <dgm:bulletEnabled val="1"/>
        </dgm:presLayoutVars>
      </dgm:prSet>
      <dgm:spPr/>
    </dgm:pt>
    <dgm:pt modelId="{A0A5F7DE-8DCC-4CE9-B884-2B8C93142C59}" type="pres">
      <dgm:prSet presAssocID="{F0ED3C2D-BEF0-43AF-AAD9-0824E411EAE2}" presName="rect1" presStyleLbl="lnNode1" presStyleIdx="1" presStyleCnt="5" custLinFactNeighborX="9311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000" r="-1000"/>
          </a:stretch>
        </a:blipFill>
      </dgm:spPr>
      <dgm:extLst>
        <a:ext uri="{E40237B7-FDA0-4F09-8148-C483321AD2D9}">
          <dgm14:cNvPr xmlns:dgm14="http://schemas.microsoft.com/office/drawing/2010/diagram" id="0" name="" descr="Gears with solid fill"/>
        </a:ext>
      </dgm:extLst>
    </dgm:pt>
    <dgm:pt modelId="{ED4E45BA-42D4-486C-8AEC-29B300FBAE01}" type="pres">
      <dgm:prSet presAssocID="{1C4B41D2-9765-4FFB-93A3-8BE8C447102C}" presName="sibTrans" presStyleCnt="0"/>
      <dgm:spPr/>
    </dgm:pt>
    <dgm:pt modelId="{15182839-9D89-4670-9705-3EE272AB6726}" type="pres">
      <dgm:prSet presAssocID="{39B84FA1-6379-45C2-9D05-31D41B4EEFC7}" presName="comp" presStyleCnt="0"/>
      <dgm:spPr/>
    </dgm:pt>
    <dgm:pt modelId="{6F4DBD63-AA12-43FD-80CD-A0D212C1AEC2}" type="pres">
      <dgm:prSet presAssocID="{39B84FA1-6379-45C2-9D05-31D41B4EEFC7}" presName="rect2" presStyleLbl="node1" presStyleIdx="2" presStyleCnt="5" custScaleX="191117" custLinFactNeighborX="48050">
        <dgm:presLayoutVars>
          <dgm:bulletEnabled val="1"/>
        </dgm:presLayoutVars>
      </dgm:prSet>
      <dgm:spPr/>
    </dgm:pt>
    <dgm:pt modelId="{4116007A-A8E0-4B73-B1C3-5474D2F594ED}" type="pres">
      <dgm:prSet presAssocID="{39B84FA1-6379-45C2-9D05-31D41B4EEFC7}" presName="rect1" presStyleLbl="lnNode1" presStyleIdx="2" presStyleCnt="5" custLinFactNeighborX="-46268"/>
      <dgm:spPr>
        <a:blipFill>
          <a:blip xmlns:r="http://schemas.openxmlformats.org/officeDocument/2006/relationships" r:embed="rId5">
            <a:extLst>
              <a:ext uri="{96DAC541-7B7A-43D3-8B79-37D633B846F1}">
                <asvg:svgBlip xmlns:asvg="http://schemas.microsoft.com/office/drawing/2016/SVG/main" r:embed="rId6"/>
              </a:ext>
            </a:extLst>
          </a:blip>
          <a:srcRect/>
          <a:stretch>
            <a:fillRect l="-1000" r="-1000"/>
          </a:stretch>
        </a:blipFill>
      </dgm:spPr>
      <dgm:extLst>
        <a:ext uri="{E40237B7-FDA0-4F09-8148-C483321AD2D9}">
          <dgm14:cNvPr xmlns:dgm14="http://schemas.microsoft.com/office/drawing/2010/diagram" id="0" name="" descr="Fax with solid fill"/>
        </a:ext>
      </dgm:extLst>
    </dgm:pt>
    <dgm:pt modelId="{92460FB2-B3EA-48B8-8720-F020DDF58CA5}" type="pres">
      <dgm:prSet presAssocID="{FCF3598D-E202-4767-8FA3-961311B44854}" presName="sibTrans" presStyleCnt="0"/>
      <dgm:spPr/>
    </dgm:pt>
    <dgm:pt modelId="{B32EEDED-4CD7-4C79-B92B-F91E80114759}" type="pres">
      <dgm:prSet presAssocID="{2E238625-A8BD-41CC-ADAF-1550D6001208}" presName="comp" presStyleCnt="0"/>
      <dgm:spPr/>
    </dgm:pt>
    <dgm:pt modelId="{589BC5AD-2DF3-481D-9E43-B27785B195D5}" type="pres">
      <dgm:prSet presAssocID="{2E238625-A8BD-41CC-ADAF-1550D6001208}" presName="rect2" presStyleLbl="node1" presStyleIdx="3" presStyleCnt="5" custScaleX="191117" custLinFactNeighborX="-20940">
        <dgm:presLayoutVars>
          <dgm:bulletEnabled val="1"/>
        </dgm:presLayoutVars>
      </dgm:prSet>
      <dgm:spPr/>
    </dgm:pt>
    <dgm:pt modelId="{6166C587-0A32-4993-BF17-08AB39861103}" type="pres">
      <dgm:prSet presAssocID="{2E238625-A8BD-41CC-ADAF-1550D6001208}" presName="rect1" presStyleLbl="lnNode1" presStyleIdx="3" presStyleCnt="5" custLinFactNeighborX="93113"/>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dgm:spPr>
      <dgm:extLst>
        <a:ext uri="{E40237B7-FDA0-4F09-8148-C483321AD2D9}">
          <dgm14:cNvPr xmlns:dgm14="http://schemas.microsoft.com/office/drawing/2010/diagram" id="0" name="" descr="Badge 1 with solid fill"/>
        </a:ext>
      </dgm:extLst>
    </dgm:pt>
    <dgm:pt modelId="{32F229ED-2D5F-4241-818A-2701977C4D73}" type="pres">
      <dgm:prSet presAssocID="{74218F59-5202-4E6C-8A5C-3B8232DF58B0}" presName="sibTrans" presStyleCnt="0"/>
      <dgm:spPr/>
    </dgm:pt>
    <dgm:pt modelId="{BF8EA727-957C-439E-834A-262DFBD0F9F4}" type="pres">
      <dgm:prSet presAssocID="{5FE97FE7-A1F1-4DEE-AACD-61D4E3B24FC7}" presName="comp" presStyleCnt="0"/>
      <dgm:spPr/>
    </dgm:pt>
    <dgm:pt modelId="{E240A4D7-CCCA-4970-ACBE-5088AFF0FF87}" type="pres">
      <dgm:prSet presAssocID="{5FE97FE7-A1F1-4DEE-AACD-61D4E3B24FC7}" presName="rect2" presStyleLbl="node1" presStyleIdx="4" presStyleCnt="5" custScaleX="191117" custLinFactNeighborX="48050">
        <dgm:presLayoutVars>
          <dgm:bulletEnabled val="1"/>
        </dgm:presLayoutVars>
      </dgm:prSet>
      <dgm:spPr/>
    </dgm:pt>
    <dgm:pt modelId="{6C3CB78B-23D5-4347-99F5-BC61610DACAB}" type="pres">
      <dgm:prSet presAssocID="{5FE97FE7-A1F1-4DEE-AACD-61D4E3B24FC7}" presName="rect1" presStyleLbl="lnNode1" presStyleIdx="4" presStyleCnt="5" custLinFactNeighborX="-4626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1000" r="-1000"/>
          </a:stretch>
        </a:blipFill>
      </dgm:spPr>
      <dgm:extLst>
        <a:ext uri="{E40237B7-FDA0-4F09-8148-C483321AD2D9}">
          <dgm14:cNvPr xmlns:dgm14="http://schemas.microsoft.com/office/drawing/2010/diagram" id="0" name="" descr="Circles with arrows with solid fill"/>
        </a:ext>
      </dgm:extLst>
    </dgm:pt>
  </dgm:ptLst>
  <dgm:cxnLst>
    <dgm:cxn modelId="{DB7B2000-2C70-4898-8501-1B8CC1F57134}" type="presOf" srcId="{2E238625-A8BD-41CC-ADAF-1550D6001208}" destId="{589BC5AD-2DF3-481D-9E43-B27785B195D5}" srcOrd="0" destOrd="0" presId="urn:microsoft.com/office/officeart/2008/layout/AlternatingPictureBlocks"/>
    <dgm:cxn modelId="{64A61634-D966-47E4-9B5C-3CA326A2D216}" srcId="{C96E20CE-8F30-4FD4-8EAA-5F0CE46589CF}" destId="{39B84FA1-6379-45C2-9D05-31D41B4EEFC7}" srcOrd="2" destOrd="0" parTransId="{6335A6F2-BE31-486A-8DCD-D52D177523A9}" sibTransId="{FCF3598D-E202-4767-8FA3-961311B44854}"/>
    <dgm:cxn modelId="{80D19334-387E-466C-B6FB-8FD19520D0BD}" srcId="{C96E20CE-8F30-4FD4-8EAA-5F0CE46589CF}" destId="{F0ED3C2D-BEF0-43AF-AAD9-0824E411EAE2}" srcOrd="1" destOrd="0" parTransId="{46B84A40-4B28-4774-AF0B-EC55586B521B}" sibTransId="{1C4B41D2-9765-4FFB-93A3-8BE8C447102C}"/>
    <dgm:cxn modelId="{C6E57A39-734C-42D9-8E8D-54E50C8FCF36}" srcId="{C96E20CE-8F30-4FD4-8EAA-5F0CE46589CF}" destId="{2E238625-A8BD-41CC-ADAF-1550D6001208}" srcOrd="3" destOrd="0" parTransId="{B95E7AAD-5DA8-4FE3-8AE2-B6E9BD6BC9D0}" sibTransId="{74218F59-5202-4E6C-8A5C-3B8232DF58B0}"/>
    <dgm:cxn modelId="{74CB894F-5888-448B-8511-8A01686E69C7}" type="presOf" srcId="{5FE97FE7-A1F1-4DEE-AACD-61D4E3B24FC7}" destId="{E240A4D7-CCCA-4970-ACBE-5088AFF0FF87}" srcOrd="0" destOrd="0" presId="urn:microsoft.com/office/officeart/2008/layout/AlternatingPictureBlocks"/>
    <dgm:cxn modelId="{7B1BCC50-5E80-4859-9176-5D9B703B79E1}" type="presOf" srcId="{39B84FA1-6379-45C2-9D05-31D41B4EEFC7}" destId="{6F4DBD63-AA12-43FD-80CD-A0D212C1AEC2}" srcOrd="0" destOrd="0" presId="urn:microsoft.com/office/officeart/2008/layout/AlternatingPictureBlocks"/>
    <dgm:cxn modelId="{B8FDCF75-2A29-41A8-850C-39CBB989C1FC}" type="presOf" srcId="{E93ECBB0-6239-41A9-97B6-B3FCE9D07088}" destId="{F581DB7E-14A2-4EA2-A290-2023AF3E3B0A}" srcOrd="0" destOrd="0" presId="urn:microsoft.com/office/officeart/2008/layout/AlternatingPictureBlocks"/>
    <dgm:cxn modelId="{13F8179E-FE7A-47B9-A543-65BE037F2619}" type="presOf" srcId="{C96E20CE-8F30-4FD4-8EAA-5F0CE46589CF}" destId="{7D39E72C-BA7E-4758-9695-0A9A1BEBD018}" srcOrd="0" destOrd="0" presId="urn:microsoft.com/office/officeart/2008/layout/AlternatingPictureBlocks"/>
    <dgm:cxn modelId="{5B3F02D9-BE59-4FBD-89AA-B7649841A292}" type="presOf" srcId="{F0ED3C2D-BEF0-43AF-AAD9-0824E411EAE2}" destId="{3473D1FB-F6C4-4848-BA65-59DD89E60C94}" srcOrd="0" destOrd="0" presId="urn:microsoft.com/office/officeart/2008/layout/AlternatingPictureBlocks"/>
    <dgm:cxn modelId="{E36ADDE1-1ADA-4B82-B80E-5CA00E233116}" srcId="{C96E20CE-8F30-4FD4-8EAA-5F0CE46589CF}" destId="{E93ECBB0-6239-41A9-97B6-B3FCE9D07088}" srcOrd="0" destOrd="0" parTransId="{E0654FCE-9AC3-4110-960C-F969FDDB5696}" sibTransId="{8A02EC9C-5E29-4004-86C8-B11C0F05C6FD}"/>
    <dgm:cxn modelId="{A5EBDDF2-6CD7-407A-9329-7217B1B2A510}" srcId="{C96E20CE-8F30-4FD4-8EAA-5F0CE46589CF}" destId="{5FE97FE7-A1F1-4DEE-AACD-61D4E3B24FC7}" srcOrd="4" destOrd="0" parTransId="{9F93DCD6-8907-478E-9BDA-D85A54554457}" sibTransId="{B0777D57-AF2D-4DAA-B845-15ED5BDE4F83}"/>
    <dgm:cxn modelId="{808792D2-E2DF-4C26-919D-1845177BE385}" type="presParOf" srcId="{7D39E72C-BA7E-4758-9695-0A9A1BEBD018}" destId="{490DAAB3-B973-4335-BED2-DBE52EE88538}" srcOrd="0" destOrd="0" presId="urn:microsoft.com/office/officeart/2008/layout/AlternatingPictureBlocks"/>
    <dgm:cxn modelId="{8CCF924B-587B-407E-9602-7F1196ACD778}" type="presParOf" srcId="{490DAAB3-B973-4335-BED2-DBE52EE88538}" destId="{F581DB7E-14A2-4EA2-A290-2023AF3E3B0A}" srcOrd="0" destOrd="0" presId="urn:microsoft.com/office/officeart/2008/layout/AlternatingPictureBlocks"/>
    <dgm:cxn modelId="{D8556D97-5C49-4538-8AE4-E13CEAFC155F}" type="presParOf" srcId="{490DAAB3-B973-4335-BED2-DBE52EE88538}" destId="{C543BBA2-EBC4-4647-B74F-50E64C4EB354}" srcOrd="1" destOrd="0" presId="urn:microsoft.com/office/officeart/2008/layout/AlternatingPictureBlocks"/>
    <dgm:cxn modelId="{F5AB43AB-6632-40A3-B36D-C1331AE87A43}" type="presParOf" srcId="{7D39E72C-BA7E-4758-9695-0A9A1BEBD018}" destId="{593AB843-FC59-4D8E-BCA4-F25E6102A8EC}" srcOrd="1" destOrd="0" presId="urn:microsoft.com/office/officeart/2008/layout/AlternatingPictureBlocks"/>
    <dgm:cxn modelId="{0DF0EDB9-A5D5-4D1C-B2E8-844EA2D241DA}" type="presParOf" srcId="{7D39E72C-BA7E-4758-9695-0A9A1BEBD018}" destId="{DF1698B8-C51B-4D34-AB45-CF44156A1DCD}" srcOrd="2" destOrd="0" presId="urn:microsoft.com/office/officeart/2008/layout/AlternatingPictureBlocks"/>
    <dgm:cxn modelId="{11DEE643-FE43-4427-825D-0C989C42C200}" type="presParOf" srcId="{DF1698B8-C51B-4D34-AB45-CF44156A1DCD}" destId="{3473D1FB-F6C4-4848-BA65-59DD89E60C94}" srcOrd="0" destOrd="0" presId="urn:microsoft.com/office/officeart/2008/layout/AlternatingPictureBlocks"/>
    <dgm:cxn modelId="{650DBD66-CF4F-4A19-B438-2A53EB9F7F9B}" type="presParOf" srcId="{DF1698B8-C51B-4D34-AB45-CF44156A1DCD}" destId="{A0A5F7DE-8DCC-4CE9-B884-2B8C93142C59}" srcOrd="1" destOrd="0" presId="urn:microsoft.com/office/officeart/2008/layout/AlternatingPictureBlocks"/>
    <dgm:cxn modelId="{F9979698-4776-47AD-96F6-AED1AA436C2C}" type="presParOf" srcId="{7D39E72C-BA7E-4758-9695-0A9A1BEBD018}" destId="{ED4E45BA-42D4-486C-8AEC-29B300FBAE01}" srcOrd="3" destOrd="0" presId="urn:microsoft.com/office/officeart/2008/layout/AlternatingPictureBlocks"/>
    <dgm:cxn modelId="{03FCB080-7097-4885-BC28-ACC81BCF296A}" type="presParOf" srcId="{7D39E72C-BA7E-4758-9695-0A9A1BEBD018}" destId="{15182839-9D89-4670-9705-3EE272AB6726}" srcOrd="4" destOrd="0" presId="urn:microsoft.com/office/officeart/2008/layout/AlternatingPictureBlocks"/>
    <dgm:cxn modelId="{A2AB67C8-6573-4D4C-B7A8-FB42C6AD542B}" type="presParOf" srcId="{15182839-9D89-4670-9705-3EE272AB6726}" destId="{6F4DBD63-AA12-43FD-80CD-A0D212C1AEC2}" srcOrd="0" destOrd="0" presId="urn:microsoft.com/office/officeart/2008/layout/AlternatingPictureBlocks"/>
    <dgm:cxn modelId="{7415754C-AF19-4DCF-816F-7011769F174E}" type="presParOf" srcId="{15182839-9D89-4670-9705-3EE272AB6726}" destId="{4116007A-A8E0-4B73-B1C3-5474D2F594ED}" srcOrd="1" destOrd="0" presId="urn:microsoft.com/office/officeart/2008/layout/AlternatingPictureBlocks"/>
    <dgm:cxn modelId="{1E1C38B1-30A2-4ABB-88A2-5B79C6F5D018}" type="presParOf" srcId="{7D39E72C-BA7E-4758-9695-0A9A1BEBD018}" destId="{92460FB2-B3EA-48B8-8720-F020DDF58CA5}" srcOrd="5" destOrd="0" presId="urn:microsoft.com/office/officeart/2008/layout/AlternatingPictureBlocks"/>
    <dgm:cxn modelId="{7168DAD8-DE65-4C5F-8C52-65B59A0EEBC2}" type="presParOf" srcId="{7D39E72C-BA7E-4758-9695-0A9A1BEBD018}" destId="{B32EEDED-4CD7-4C79-B92B-F91E80114759}" srcOrd="6" destOrd="0" presId="urn:microsoft.com/office/officeart/2008/layout/AlternatingPictureBlocks"/>
    <dgm:cxn modelId="{3D6EC986-B6CF-4CC4-A471-6C6ECBB040AA}" type="presParOf" srcId="{B32EEDED-4CD7-4C79-B92B-F91E80114759}" destId="{589BC5AD-2DF3-481D-9E43-B27785B195D5}" srcOrd="0" destOrd="0" presId="urn:microsoft.com/office/officeart/2008/layout/AlternatingPictureBlocks"/>
    <dgm:cxn modelId="{6714CFC9-14A1-4448-9EFD-7BF4D31E1DFB}" type="presParOf" srcId="{B32EEDED-4CD7-4C79-B92B-F91E80114759}" destId="{6166C587-0A32-4993-BF17-08AB39861103}" srcOrd="1" destOrd="0" presId="urn:microsoft.com/office/officeart/2008/layout/AlternatingPictureBlocks"/>
    <dgm:cxn modelId="{7534041D-2616-4E89-BFF6-F6295A7A7ED2}" type="presParOf" srcId="{7D39E72C-BA7E-4758-9695-0A9A1BEBD018}" destId="{32F229ED-2D5F-4241-818A-2701977C4D73}" srcOrd="7" destOrd="0" presId="urn:microsoft.com/office/officeart/2008/layout/AlternatingPictureBlocks"/>
    <dgm:cxn modelId="{9E9C4531-BF74-4862-9A8D-B8888806AB2F}" type="presParOf" srcId="{7D39E72C-BA7E-4758-9695-0A9A1BEBD018}" destId="{BF8EA727-957C-439E-834A-262DFBD0F9F4}" srcOrd="8" destOrd="0" presId="urn:microsoft.com/office/officeart/2008/layout/AlternatingPictureBlocks"/>
    <dgm:cxn modelId="{0A99916B-7E9D-41CE-90C0-07E08AEE6B88}" type="presParOf" srcId="{BF8EA727-957C-439E-834A-262DFBD0F9F4}" destId="{E240A4D7-CCCA-4970-ACBE-5088AFF0FF87}" srcOrd="0" destOrd="0" presId="urn:microsoft.com/office/officeart/2008/layout/AlternatingPictureBlocks"/>
    <dgm:cxn modelId="{11C9D83D-E65B-4E31-BDDF-4C7805CB6E96}" type="presParOf" srcId="{BF8EA727-957C-439E-834A-262DFBD0F9F4}" destId="{6C3CB78B-23D5-4347-99F5-BC61610DACAB}" srcOrd="1" destOrd="0" presId="urn:microsoft.com/office/officeart/2008/layout/AlternatingPictureBlock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BE7E0DC-90EA-444C-BB9C-F175A62F578E}" type="doc">
      <dgm:prSet loTypeId="urn:microsoft.com/office/officeart/2005/8/layout/vList2" loCatId="list" qsTypeId="urn:microsoft.com/office/officeart/2005/8/quickstyle/simple1" qsCatId="simple" csTypeId="urn:microsoft.com/office/officeart/2005/8/colors/accent0_1" csCatId="mainScheme"/>
      <dgm:spPr/>
      <dgm:t>
        <a:bodyPr/>
        <a:lstStyle/>
        <a:p>
          <a:endParaRPr lang="en-US"/>
        </a:p>
      </dgm:t>
    </dgm:pt>
    <dgm:pt modelId="{82FA2E27-5747-4DFE-85A7-A676AA03082A}">
      <dgm:prSet custT="1"/>
      <dgm:spPr/>
      <dgm:t>
        <a:bodyPr/>
        <a:lstStyle/>
        <a:p>
          <a:r>
            <a:rPr lang="en-US" sz="2300" baseline="0"/>
            <a:t>Accepts input from a </a:t>
          </a:r>
          <a:r>
            <a:rPr lang="en-US" sz="2300" b="0" baseline="0"/>
            <a:t>property</a:t>
          </a:r>
          <a:r>
            <a:rPr lang="en-US" sz="2300" baseline="0"/>
            <a:t> of a pipeline object that </a:t>
          </a:r>
          <a:r>
            <a:rPr lang="en-US" sz="2300" b="0" baseline="0"/>
            <a:t>matches</a:t>
          </a:r>
          <a:r>
            <a:rPr lang="en-US" sz="2300" baseline="0"/>
            <a:t> the parameter </a:t>
          </a:r>
          <a:r>
            <a:rPr lang="en-US" sz="2300" b="1" baseline="0"/>
            <a:t>name</a:t>
          </a:r>
          <a:endParaRPr lang="en-US" sz="2300" b="1"/>
        </a:p>
      </dgm:t>
    </dgm:pt>
    <dgm:pt modelId="{DD3E6E5C-FDA0-4813-AEE4-72B5E411786A}" type="parTrans" cxnId="{0CDE10DD-37EC-440A-987A-D735201611B8}">
      <dgm:prSet/>
      <dgm:spPr/>
      <dgm:t>
        <a:bodyPr/>
        <a:lstStyle/>
        <a:p>
          <a:endParaRPr lang="en-US" sz="2300"/>
        </a:p>
      </dgm:t>
    </dgm:pt>
    <dgm:pt modelId="{548EADA1-8F3D-4423-91D7-9874A9F454B5}" type="sibTrans" cxnId="{0CDE10DD-37EC-440A-987A-D735201611B8}">
      <dgm:prSet/>
      <dgm:spPr/>
      <dgm:t>
        <a:bodyPr/>
        <a:lstStyle/>
        <a:p>
          <a:endParaRPr lang="en-US" sz="2300"/>
        </a:p>
      </dgm:t>
    </dgm:pt>
    <dgm:pt modelId="{BDC457C0-7017-40ED-BDF4-691EB5EF051B}">
      <dgm:prSet custT="1"/>
      <dgm:spPr/>
      <dgm:t>
        <a:bodyPr/>
        <a:lstStyle/>
        <a:p>
          <a:r>
            <a:rPr lang="en-US" sz="2300" baseline="0"/>
            <a:t>Error thrown if </a:t>
          </a:r>
          <a:r>
            <a:rPr lang="en-US" sz="2300" b="1" baseline="0"/>
            <a:t>no</a:t>
          </a:r>
          <a:r>
            <a:rPr lang="en-US" sz="2300" baseline="0"/>
            <a:t> parameters can be bound</a:t>
          </a:r>
          <a:endParaRPr lang="en-US" sz="2300"/>
        </a:p>
      </dgm:t>
    </dgm:pt>
    <dgm:pt modelId="{B26E7E0F-30C4-4599-BD1A-E6536F828718}" type="parTrans" cxnId="{36B86AD9-BF24-4299-B7A5-3B21851A09CE}">
      <dgm:prSet/>
      <dgm:spPr/>
      <dgm:t>
        <a:bodyPr/>
        <a:lstStyle/>
        <a:p>
          <a:endParaRPr lang="en-US" sz="2300"/>
        </a:p>
      </dgm:t>
    </dgm:pt>
    <dgm:pt modelId="{9DEB3693-03BB-4522-95F2-90A1C72735AC}" type="sibTrans" cxnId="{36B86AD9-BF24-4299-B7A5-3B21851A09CE}">
      <dgm:prSet/>
      <dgm:spPr/>
      <dgm:t>
        <a:bodyPr/>
        <a:lstStyle/>
        <a:p>
          <a:endParaRPr lang="en-US" sz="2300"/>
        </a:p>
      </dgm:t>
    </dgm:pt>
    <dgm:pt modelId="{EF602059-7D6A-4A03-9CCC-F44795D1C551}" type="pres">
      <dgm:prSet presAssocID="{9BE7E0DC-90EA-444C-BB9C-F175A62F578E}" presName="linear" presStyleCnt="0">
        <dgm:presLayoutVars>
          <dgm:animLvl val="lvl"/>
          <dgm:resizeHandles val="exact"/>
        </dgm:presLayoutVars>
      </dgm:prSet>
      <dgm:spPr/>
    </dgm:pt>
    <dgm:pt modelId="{572F39BF-ABC1-45B4-9EBE-4279CAF97C3B}" type="pres">
      <dgm:prSet presAssocID="{82FA2E27-5747-4DFE-85A7-A676AA03082A}" presName="parentText" presStyleLbl="node1" presStyleIdx="0" presStyleCnt="2">
        <dgm:presLayoutVars>
          <dgm:chMax val="0"/>
          <dgm:bulletEnabled val="1"/>
        </dgm:presLayoutVars>
      </dgm:prSet>
      <dgm:spPr/>
    </dgm:pt>
    <dgm:pt modelId="{3B8ACF26-3045-4B9C-866A-D0C57D8AED13}" type="pres">
      <dgm:prSet presAssocID="{548EADA1-8F3D-4423-91D7-9874A9F454B5}" presName="spacer" presStyleCnt="0"/>
      <dgm:spPr/>
    </dgm:pt>
    <dgm:pt modelId="{E5B5183C-0CFC-4E99-846C-7A8526457142}" type="pres">
      <dgm:prSet presAssocID="{BDC457C0-7017-40ED-BDF4-691EB5EF051B}" presName="parentText" presStyleLbl="node1" presStyleIdx="1" presStyleCnt="2" custLinFactNeighborY="13562">
        <dgm:presLayoutVars>
          <dgm:chMax val="0"/>
          <dgm:bulletEnabled val="1"/>
        </dgm:presLayoutVars>
      </dgm:prSet>
      <dgm:spPr/>
    </dgm:pt>
  </dgm:ptLst>
  <dgm:cxnLst>
    <dgm:cxn modelId="{DD12B84F-F1B9-43D8-A257-B4BBCA145B84}" type="presOf" srcId="{82FA2E27-5747-4DFE-85A7-A676AA03082A}" destId="{572F39BF-ABC1-45B4-9EBE-4279CAF97C3B}" srcOrd="0" destOrd="0" presId="urn:microsoft.com/office/officeart/2005/8/layout/vList2"/>
    <dgm:cxn modelId="{536A76C7-3D89-4922-AA59-ADD37933A20D}" type="presOf" srcId="{BDC457C0-7017-40ED-BDF4-691EB5EF051B}" destId="{E5B5183C-0CFC-4E99-846C-7A8526457142}" srcOrd="0" destOrd="0" presId="urn:microsoft.com/office/officeart/2005/8/layout/vList2"/>
    <dgm:cxn modelId="{36B86AD9-BF24-4299-B7A5-3B21851A09CE}" srcId="{9BE7E0DC-90EA-444C-BB9C-F175A62F578E}" destId="{BDC457C0-7017-40ED-BDF4-691EB5EF051B}" srcOrd="1" destOrd="0" parTransId="{B26E7E0F-30C4-4599-BD1A-E6536F828718}" sibTransId="{9DEB3693-03BB-4522-95F2-90A1C72735AC}"/>
    <dgm:cxn modelId="{78051CDB-86F8-41BF-AC5F-CD39280206A0}" type="presOf" srcId="{9BE7E0DC-90EA-444C-BB9C-F175A62F578E}" destId="{EF602059-7D6A-4A03-9CCC-F44795D1C551}" srcOrd="0" destOrd="0" presId="urn:microsoft.com/office/officeart/2005/8/layout/vList2"/>
    <dgm:cxn modelId="{0CDE10DD-37EC-440A-987A-D735201611B8}" srcId="{9BE7E0DC-90EA-444C-BB9C-F175A62F578E}" destId="{82FA2E27-5747-4DFE-85A7-A676AA03082A}" srcOrd="0" destOrd="0" parTransId="{DD3E6E5C-FDA0-4813-AEE4-72B5E411786A}" sibTransId="{548EADA1-8F3D-4423-91D7-9874A9F454B5}"/>
    <dgm:cxn modelId="{51BCDC61-117D-42EA-920E-81A63FBEF1AC}" type="presParOf" srcId="{EF602059-7D6A-4A03-9CCC-F44795D1C551}" destId="{572F39BF-ABC1-45B4-9EBE-4279CAF97C3B}" srcOrd="0" destOrd="0" presId="urn:microsoft.com/office/officeart/2005/8/layout/vList2"/>
    <dgm:cxn modelId="{6AC85475-8295-41EF-A7C2-E9C90AEA50EF}" type="presParOf" srcId="{EF602059-7D6A-4A03-9CCC-F44795D1C551}" destId="{3B8ACF26-3045-4B9C-866A-D0C57D8AED13}" srcOrd="1" destOrd="0" presId="urn:microsoft.com/office/officeart/2005/8/layout/vList2"/>
    <dgm:cxn modelId="{802D5890-5DE1-458F-B1D5-B280A7F00BC5}" type="presParOf" srcId="{EF602059-7D6A-4A03-9CCC-F44795D1C551}" destId="{E5B5183C-0CFC-4E99-846C-7A8526457142}" srcOrd="2"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EED02D9-B82E-42EF-ADAC-C92AAED99D78}" type="doc">
      <dgm:prSet loTypeId="urn:microsoft.com/office/officeart/2005/8/layout/hList6" loCatId="list" qsTypeId="urn:microsoft.com/office/officeart/2005/8/quickstyle/simple1" qsCatId="simple" csTypeId="urn:microsoft.com/office/officeart/2005/8/colors/colorful1" csCatId="colorful" phldr="1"/>
      <dgm:spPr/>
      <dgm:t>
        <a:bodyPr/>
        <a:lstStyle/>
        <a:p>
          <a:endParaRPr lang="en-US"/>
        </a:p>
      </dgm:t>
    </dgm:pt>
    <dgm:pt modelId="{67EE8769-C160-40BB-BB70-E41D725E0C7A}">
      <dgm:prSet custT="1"/>
      <dgm:spPr/>
      <dgm:t>
        <a:bodyPr/>
        <a:lstStyle/>
        <a:p>
          <a:r>
            <a:rPr lang="en-AU" sz="2400"/>
            <a:t>Defines an alias for a </a:t>
          </a:r>
          <a:r>
            <a:rPr lang="en-AU" sz="2400" b="1"/>
            <a:t>function</a:t>
          </a:r>
          <a:r>
            <a:rPr lang="en-AU" sz="2400"/>
            <a:t> or </a:t>
          </a:r>
          <a:r>
            <a:rPr lang="en-AU" sz="2400" b="1"/>
            <a:t>parameter</a:t>
          </a:r>
          <a:endParaRPr lang="en-US" sz="2400" b="1"/>
        </a:p>
      </dgm:t>
    </dgm:pt>
    <dgm:pt modelId="{049FC5FA-F46E-467A-84F2-B844F895AE93}" type="parTrans" cxnId="{1ACFF695-27AE-4258-A736-E3A410C86D5C}">
      <dgm:prSet/>
      <dgm:spPr/>
      <dgm:t>
        <a:bodyPr/>
        <a:lstStyle/>
        <a:p>
          <a:endParaRPr lang="en-US" sz="3200"/>
        </a:p>
      </dgm:t>
    </dgm:pt>
    <dgm:pt modelId="{4C46BA86-AF2E-4EFB-A9D6-DB164CA44FCD}" type="sibTrans" cxnId="{1ACFF695-27AE-4258-A736-E3A410C86D5C}">
      <dgm:prSet/>
      <dgm:spPr/>
      <dgm:t>
        <a:bodyPr/>
        <a:lstStyle/>
        <a:p>
          <a:endParaRPr lang="en-US" sz="3200"/>
        </a:p>
      </dgm:t>
    </dgm:pt>
    <dgm:pt modelId="{A2F7E13D-F160-4C9F-9286-EDEFC82DFDE8}">
      <dgm:prSet custT="1"/>
      <dgm:spPr>
        <a:solidFill>
          <a:srgbClr val="6B2929"/>
        </a:solidFill>
      </dgm:spPr>
      <dgm:t>
        <a:bodyPr/>
        <a:lstStyle/>
        <a:p>
          <a:r>
            <a:rPr lang="en-US" sz="2400"/>
            <a:t>Aliases can be recognized by </a:t>
          </a:r>
          <a:r>
            <a:rPr lang="en-US" sz="2400" b="1" err="1"/>
            <a:t>ValueFromPipelineByPropertyName</a:t>
          </a:r>
          <a:endParaRPr lang="en-US" sz="2400" b="1"/>
        </a:p>
      </dgm:t>
    </dgm:pt>
    <dgm:pt modelId="{321BD729-94BA-49FD-AB33-BC8A4EAF30A9}" type="parTrans" cxnId="{D4C7BEC8-917E-4F66-AF1E-16135F4D9671}">
      <dgm:prSet/>
      <dgm:spPr/>
      <dgm:t>
        <a:bodyPr/>
        <a:lstStyle/>
        <a:p>
          <a:endParaRPr lang="en-US" sz="3200"/>
        </a:p>
      </dgm:t>
    </dgm:pt>
    <dgm:pt modelId="{1429C46F-232F-4C81-BF18-819F817F6341}" type="sibTrans" cxnId="{D4C7BEC8-917E-4F66-AF1E-16135F4D9671}">
      <dgm:prSet/>
      <dgm:spPr/>
      <dgm:t>
        <a:bodyPr/>
        <a:lstStyle/>
        <a:p>
          <a:endParaRPr lang="en-US" sz="3200"/>
        </a:p>
      </dgm:t>
    </dgm:pt>
    <dgm:pt modelId="{13AEC639-D1EF-4374-BCB0-88E24D39CA14}">
      <dgm:prSet custT="1"/>
      <dgm:spPr/>
      <dgm:t>
        <a:bodyPr/>
        <a:lstStyle/>
        <a:p>
          <a:r>
            <a:rPr lang="en-US" sz="2400"/>
            <a:t>Aliases do </a:t>
          </a:r>
          <a:r>
            <a:rPr lang="en-US" sz="2400" b="1"/>
            <a:t>not</a:t>
          </a:r>
          <a:r>
            <a:rPr lang="en-US" sz="2400"/>
            <a:t> show in </a:t>
          </a:r>
          <a:r>
            <a:rPr lang="en-US" sz="2400" err="1"/>
            <a:t>Intellisense</a:t>
          </a:r>
          <a:endParaRPr lang="en-US" sz="2400"/>
        </a:p>
      </dgm:t>
    </dgm:pt>
    <dgm:pt modelId="{A5BC2597-E4E6-4996-B986-E61CC9F6786B}" type="parTrans" cxnId="{AAB81538-41E4-44A2-8475-1C7E34B36943}">
      <dgm:prSet/>
      <dgm:spPr/>
      <dgm:t>
        <a:bodyPr/>
        <a:lstStyle/>
        <a:p>
          <a:endParaRPr lang="en-US" sz="3200"/>
        </a:p>
      </dgm:t>
    </dgm:pt>
    <dgm:pt modelId="{3DEAA8DC-D84A-40DA-8B26-122E521EC273}" type="sibTrans" cxnId="{AAB81538-41E4-44A2-8475-1C7E34B36943}">
      <dgm:prSet/>
      <dgm:spPr/>
      <dgm:t>
        <a:bodyPr/>
        <a:lstStyle/>
        <a:p>
          <a:endParaRPr lang="en-US" sz="3200"/>
        </a:p>
      </dgm:t>
    </dgm:pt>
    <dgm:pt modelId="{F081CCDC-22D6-4E43-8817-AA23DB2E8628}" type="pres">
      <dgm:prSet presAssocID="{8EED02D9-B82E-42EF-ADAC-C92AAED99D78}" presName="Name0" presStyleCnt="0">
        <dgm:presLayoutVars>
          <dgm:dir/>
          <dgm:resizeHandles val="exact"/>
        </dgm:presLayoutVars>
      </dgm:prSet>
      <dgm:spPr/>
    </dgm:pt>
    <dgm:pt modelId="{737CF7A6-76BB-419F-BCBF-6C69CA0BF90C}" type="pres">
      <dgm:prSet presAssocID="{67EE8769-C160-40BB-BB70-E41D725E0C7A}" presName="node" presStyleLbl="node1" presStyleIdx="0" presStyleCnt="3">
        <dgm:presLayoutVars>
          <dgm:bulletEnabled val="1"/>
        </dgm:presLayoutVars>
      </dgm:prSet>
      <dgm:spPr/>
    </dgm:pt>
    <dgm:pt modelId="{B5C5863D-A2C2-4688-863E-96414DF53FC4}" type="pres">
      <dgm:prSet presAssocID="{4C46BA86-AF2E-4EFB-A9D6-DB164CA44FCD}" presName="sibTrans" presStyleCnt="0"/>
      <dgm:spPr/>
    </dgm:pt>
    <dgm:pt modelId="{8407AF40-27F5-4146-9BE0-133AC5584A3E}" type="pres">
      <dgm:prSet presAssocID="{A2F7E13D-F160-4C9F-9286-EDEFC82DFDE8}" presName="node" presStyleLbl="node1" presStyleIdx="1" presStyleCnt="3">
        <dgm:presLayoutVars>
          <dgm:bulletEnabled val="1"/>
        </dgm:presLayoutVars>
      </dgm:prSet>
      <dgm:spPr/>
    </dgm:pt>
    <dgm:pt modelId="{1A7FD012-4793-472B-9CA4-7612126D6BEE}" type="pres">
      <dgm:prSet presAssocID="{1429C46F-232F-4C81-BF18-819F817F6341}" presName="sibTrans" presStyleCnt="0"/>
      <dgm:spPr/>
    </dgm:pt>
    <dgm:pt modelId="{9107C1F3-3141-476D-B89F-4DDFD2E4585D}" type="pres">
      <dgm:prSet presAssocID="{13AEC639-D1EF-4374-BCB0-88E24D39CA14}" presName="node" presStyleLbl="node1" presStyleIdx="2" presStyleCnt="3" custLinFactNeighborX="513" custLinFactNeighborY="-649">
        <dgm:presLayoutVars>
          <dgm:bulletEnabled val="1"/>
        </dgm:presLayoutVars>
      </dgm:prSet>
      <dgm:spPr/>
    </dgm:pt>
  </dgm:ptLst>
  <dgm:cxnLst>
    <dgm:cxn modelId="{90739F09-E15B-4C8D-A35F-41E064906FF1}" type="presOf" srcId="{67EE8769-C160-40BB-BB70-E41D725E0C7A}" destId="{737CF7A6-76BB-419F-BCBF-6C69CA0BF90C}" srcOrd="0" destOrd="0" presId="urn:microsoft.com/office/officeart/2005/8/layout/hList6"/>
    <dgm:cxn modelId="{157EF60F-35FE-495A-8ED2-407E46A9857B}" type="presOf" srcId="{A2F7E13D-F160-4C9F-9286-EDEFC82DFDE8}" destId="{8407AF40-27F5-4146-9BE0-133AC5584A3E}" srcOrd="0" destOrd="0" presId="urn:microsoft.com/office/officeart/2005/8/layout/hList6"/>
    <dgm:cxn modelId="{AAB81538-41E4-44A2-8475-1C7E34B36943}" srcId="{8EED02D9-B82E-42EF-ADAC-C92AAED99D78}" destId="{13AEC639-D1EF-4374-BCB0-88E24D39CA14}" srcOrd="2" destOrd="0" parTransId="{A5BC2597-E4E6-4996-B986-E61CC9F6786B}" sibTransId="{3DEAA8DC-D84A-40DA-8B26-122E521EC273}"/>
    <dgm:cxn modelId="{96E1698B-2566-4DEB-9A0C-70301185A0AB}" type="presOf" srcId="{13AEC639-D1EF-4374-BCB0-88E24D39CA14}" destId="{9107C1F3-3141-476D-B89F-4DDFD2E4585D}" srcOrd="0" destOrd="0" presId="urn:microsoft.com/office/officeart/2005/8/layout/hList6"/>
    <dgm:cxn modelId="{1ACFF695-27AE-4258-A736-E3A410C86D5C}" srcId="{8EED02D9-B82E-42EF-ADAC-C92AAED99D78}" destId="{67EE8769-C160-40BB-BB70-E41D725E0C7A}" srcOrd="0" destOrd="0" parTransId="{049FC5FA-F46E-467A-84F2-B844F895AE93}" sibTransId="{4C46BA86-AF2E-4EFB-A9D6-DB164CA44FCD}"/>
    <dgm:cxn modelId="{72B172A1-DB53-46F4-BB90-DF1451AA9936}" type="presOf" srcId="{8EED02D9-B82E-42EF-ADAC-C92AAED99D78}" destId="{F081CCDC-22D6-4E43-8817-AA23DB2E8628}" srcOrd="0" destOrd="0" presId="urn:microsoft.com/office/officeart/2005/8/layout/hList6"/>
    <dgm:cxn modelId="{D4C7BEC8-917E-4F66-AF1E-16135F4D9671}" srcId="{8EED02D9-B82E-42EF-ADAC-C92AAED99D78}" destId="{A2F7E13D-F160-4C9F-9286-EDEFC82DFDE8}" srcOrd="1" destOrd="0" parTransId="{321BD729-94BA-49FD-AB33-BC8A4EAF30A9}" sibTransId="{1429C46F-232F-4C81-BF18-819F817F6341}"/>
    <dgm:cxn modelId="{F1786A3F-1AF9-44D9-B873-1DB8E3F87E7E}" type="presParOf" srcId="{F081CCDC-22D6-4E43-8817-AA23DB2E8628}" destId="{737CF7A6-76BB-419F-BCBF-6C69CA0BF90C}" srcOrd="0" destOrd="0" presId="urn:microsoft.com/office/officeart/2005/8/layout/hList6"/>
    <dgm:cxn modelId="{5FA6C941-D8C1-4E61-8C67-96FDEFC34BC9}" type="presParOf" srcId="{F081CCDC-22D6-4E43-8817-AA23DB2E8628}" destId="{B5C5863D-A2C2-4688-863E-96414DF53FC4}" srcOrd="1" destOrd="0" presId="urn:microsoft.com/office/officeart/2005/8/layout/hList6"/>
    <dgm:cxn modelId="{E76667B8-F3C5-4BE2-B4FC-8E0072235F7F}" type="presParOf" srcId="{F081CCDC-22D6-4E43-8817-AA23DB2E8628}" destId="{8407AF40-27F5-4146-9BE0-133AC5584A3E}" srcOrd="2" destOrd="0" presId="urn:microsoft.com/office/officeart/2005/8/layout/hList6"/>
    <dgm:cxn modelId="{3BBE057C-4CB9-4787-BC55-CD26E7B93E34}" type="presParOf" srcId="{F081CCDC-22D6-4E43-8817-AA23DB2E8628}" destId="{1A7FD012-4793-472B-9CA4-7612126D6BEE}" srcOrd="3" destOrd="0" presId="urn:microsoft.com/office/officeart/2005/8/layout/hList6"/>
    <dgm:cxn modelId="{2E82A68D-7048-4B9F-A2D0-236A78816A66}" type="presParOf" srcId="{F081CCDC-22D6-4E43-8817-AA23DB2E8628}" destId="{9107C1F3-3141-476D-B89F-4DDFD2E4585D}" srcOrd="4" destOrd="0" presId="urn:microsoft.com/office/officeart/2005/8/layout/h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FB56198-0ADF-4A71-9ED5-BCAE380CA1E0}"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A44FB402-4016-4040-9F32-683DE0697B2C}">
      <dgm:prSet custT="1"/>
      <dgm:spPr/>
      <dgm:t>
        <a:bodyPr/>
        <a:lstStyle/>
        <a:p>
          <a:r>
            <a:rPr lang="en-US" sz="2800"/>
            <a:t>Positional parameters will accept </a:t>
          </a:r>
          <a:r>
            <a:rPr lang="en-US" sz="2800" b="1"/>
            <a:t>one value</a:t>
          </a:r>
          <a:r>
            <a:rPr lang="en-US" sz="2800"/>
            <a:t> per parameter</a:t>
          </a:r>
        </a:p>
      </dgm:t>
    </dgm:pt>
    <dgm:pt modelId="{89FC58F4-CF4A-41D4-B86E-E8647DD03775}" type="parTrans" cxnId="{3D010503-72D5-494A-B3AD-EB768A573295}">
      <dgm:prSet/>
      <dgm:spPr/>
      <dgm:t>
        <a:bodyPr/>
        <a:lstStyle/>
        <a:p>
          <a:endParaRPr lang="en-US" sz="2800"/>
        </a:p>
      </dgm:t>
    </dgm:pt>
    <dgm:pt modelId="{BE5E7491-53C6-4413-8FFC-0F917F251980}" type="sibTrans" cxnId="{3D010503-72D5-494A-B3AD-EB768A573295}">
      <dgm:prSet/>
      <dgm:spPr/>
      <dgm:t>
        <a:bodyPr/>
        <a:lstStyle/>
        <a:p>
          <a:endParaRPr lang="en-US" sz="2800"/>
        </a:p>
      </dgm:t>
    </dgm:pt>
    <dgm:pt modelId="{75BEF958-E6ED-4963-BE5F-C639E7E76C2E}">
      <dgm:prSet custT="1"/>
      <dgm:spPr/>
      <dgm:t>
        <a:bodyPr/>
        <a:lstStyle/>
        <a:p>
          <a:r>
            <a:rPr lang="en-US" sz="2800"/>
            <a:t>If </a:t>
          </a:r>
          <a:r>
            <a:rPr lang="en-US" sz="2800" b="1"/>
            <a:t>extra</a:t>
          </a:r>
          <a:r>
            <a:rPr lang="en-US" sz="2800"/>
            <a:t> </a:t>
          </a:r>
          <a:r>
            <a:rPr lang="en-US" sz="2800" b="1"/>
            <a:t>values</a:t>
          </a:r>
          <a:r>
            <a:rPr lang="en-US" sz="2800"/>
            <a:t> are provided, an </a:t>
          </a:r>
          <a:r>
            <a:rPr lang="en-US" sz="2800" b="1"/>
            <a:t>error</a:t>
          </a:r>
          <a:r>
            <a:rPr lang="en-US" sz="2800"/>
            <a:t> occurs</a:t>
          </a:r>
        </a:p>
      </dgm:t>
    </dgm:pt>
    <dgm:pt modelId="{E8D95C9E-487A-4CFA-84C4-D3345D30C0B9}" type="parTrans" cxnId="{4180C758-2A6A-4208-A27F-C58FCC85F8E9}">
      <dgm:prSet/>
      <dgm:spPr/>
      <dgm:t>
        <a:bodyPr/>
        <a:lstStyle/>
        <a:p>
          <a:endParaRPr lang="en-US" sz="2800"/>
        </a:p>
      </dgm:t>
    </dgm:pt>
    <dgm:pt modelId="{5E70F1F6-1B04-44BC-894E-01B60E19D03A}" type="sibTrans" cxnId="{4180C758-2A6A-4208-A27F-C58FCC85F8E9}">
      <dgm:prSet/>
      <dgm:spPr/>
      <dgm:t>
        <a:bodyPr/>
        <a:lstStyle/>
        <a:p>
          <a:endParaRPr lang="en-US" sz="2800"/>
        </a:p>
      </dgm:t>
    </dgm:pt>
    <dgm:pt modelId="{64AE2BA9-75EE-44FB-912E-68475CAB60BD}" type="pres">
      <dgm:prSet presAssocID="{0FB56198-0ADF-4A71-9ED5-BCAE380CA1E0}" presName="Name0" presStyleCnt="0">
        <dgm:presLayoutVars>
          <dgm:chMax val="7"/>
          <dgm:dir/>
          <dgm:animLvl val="lvl"/>
          <dgm:resizeHandles val="exact"/>
        </dgm:presLayoutVars>
      </dgm:prSet>
      <dgm:spPr/>
    </dgm:pt>
    <dgm:pt modelId="{172EEDD0-01B8-42E8-B031-5801397170FC}" type="pres">
      <dgm:prSet presAssocID="{A44FB402-4016-4040-9F32-683DE0697B2C}" presName="circle1" presStyleLbl="node1" presStyleIdx="0" presStyleCnt="2"/>
      <dgm:spPr/>
    </dgm:pt>
    <dgm:pt modelId="{7637C12B-FA01-4716-A91D-A07180C0FD15}" type="pres">
      <dgm:prSet presAssocID="{A44FB402-4016-4040-9F32-683DE0697B2C}" presName="space" presStyleCnt="0"/>
      <dgm:spPr/>
    </dgm:pt>
    <dgm:pt modelId="{1CBF9F91-F772-4757-9718-56D121BD5D16}" type="pres">
      <dgm:prSet presAssocID="{A44FB402-4016-4040-9F32-683DE0697B2C}" presName="rect1" presStyleLbl="alignAcc1" presStyleIdx="0" presStyleCnt="2" custLinFactNeighborX="123" custLinFactNeighborY="-926"/>
      <dgm:spPr/>
    </dgm:pt>
    <dgm:pt modelId="{6C35BBC7-28DF-48D4-91AA-B180226456A9}" type="pres">
      <dgm:prSet presAssocID="{75BEF958-E6ED-4963-BE5F-C639E7E76C2E}" presName="vertSpace2" presStyleLbl="node1" presStyleIdx="0" presStyleCnt="2"/>
      <dgm:spPr/>
    </dgm:pt>
    <dgm:pt modelId="{279C61D0-B274-41A9-A040-134FF1CD0705}" type="pres">
      <dgm:prSet presAssocID="{75BEF958-E6ED-4963-BE5F-C639E7E76C2E}" presName="circle2" presStyleLbl="node1" presStyleIdx="1" presStyleCnt="2"/>
      <dgm:spPr/>
    </dgm:pt>
    <dgm:pt modelId="{E5BCB7EF-1BDC-40A4-A834-55FE00045C06}" type="pres">
      <dgm:prSet presAssocID="{75BEF958-E6ED-4963-BE5F-C639E7E76C2E}" presName="rect2" presStyleLbl="alignAcc1" presStyleIdx="1" presStyleCnt="2"/>
      <dgm:spPr/>
    </dgm:pt>
    <dgm:pt modelId="{46567946-E860-4002-A6CB-05E20661F837}" type="pres">
      <dgm:prSet presAssocID="{A44FB402-4016-4040-9F32-683DE0697B2C}" presName="rect1ParTxNoCh" presStyleLbl="alignAcc1" presStyleIdx="1" presStyleCnt="2">
        <dgm:presLayoutVars>
          <dgm:chMax val="1"/>
          <dgm:bulletEnabled val="1"/>
        </dgm:presLayoutVars>
      </dgm:prSet>
      <dgm:spPr/>
    </dgm:pt>
    <dgm:pt modelId="{F09647BD-BED5-44E3-93A2-08E039A5C707}" type="pres">
      <dgm:prSet presAssocID="{75BEF958-E6ED-4963-BE5F-C639E7E76C2E}" presName="rect2ParTxNoCh" presStyleLbl="alignAcc1" presStyleIdx="1" presStyleCnt="2">
        <dgm:presLayoutVars>
          <dgm:chMax val="1"/>
          <dgm:bulletEnabled val="1"/>
        </dgm:presLayoutVars>
      </dgm:prSet>
      <dgm:spPr/>
    </dgm:pt>
  </dgm:ptLst>
  <dgm:cxnLst>
    <dgm:cxn modelId="{3D010503-72D5-494A-B3AD-EB768A573295}" srcId="{0FB56198-0ADF-4A71-9ED5-BCAE380CA1E0}" destId="{A44FB402-4016-4040-9F32-683DE0697B2C}" srcOrd="0" destOrd="0" parTransId="{89FC58F4-CF4A-41D4-B86E-E8647DD03775}" sibTransId="{BE5E7491-53C6-4413-8FFC-0F917F251980}"/>
    <dgm:cxn modelId="{61821E05-5C6A-477A-82BD-AAA34DE11050}" type="presOf" srcId="{75BEF958-E6ED-4963-BE5F-C639E7E76C2E}" destId="{E5BCB7EF-1BDC-40A4-A834-55FE00045C06}" srcOrd="0" destOrd="0" presId="urn:microsoft.com/office/officeart/2005/8/layout/target3"/>
    <dgm:cxn modelId="{F56D2E08-E144-415E-AF9B-39003D4BE59E}" type="presOf" srcId="{0FB56198-0ADF-4A71-9ED5-BCAE380CA1E0}" destId="{64AE2BA9-75EE-44FB-912E-68475CAB60BD}" srcOrd="0" destOrd="0" presId="urn:microsoft.com/office/officeart/2005/8/layout/target3"/>
    <dgm:cxn modelId="{674DD375-327D-45B1-8273-3FD1CB240F8C}" type="presOf" srcId="{A44FB402-4016-4040-9F32-683DE0697B2C}" destId="{46567946-E860-4002-A6CB-05E20661F837}" srcOrd="1" destOrd="0" presId="urn:microsoft.com/office/officeart/2005/8/layout/target3"/>
    <dgm:cxn modelId="{4180C758-2A6A-4208-A27F-C58FCC85F8E9}" srcId="{0FB56198-0ADF-4A71-9ED5-BCAE380CA1E0}" destId="{75BEF958-E6ED-4963-BE5F-C639E7E76C2E}" srcOrd="1" destOrd="0" parTransId="{E8D95C9E-487A-4CFA-84C4-D3345D30C0B9}" sibTransId="{5E70F1F6-1B04-44BC-894E-01B60E19D03A}"/>
    <dgm:cxn modelId="{214A54AA-AA0F-4C83-8AB2-FBDCE7984E19}" type="presOf" srcId="{75BEF958-E6ED-4963-BE5F-C639E7E76C2E}" destId="{F09647BD-BED5-44E3-93A2-08E039A5C707}" srcOrd="1" destOrd="0" presId="urn:microsoft.com/office/officeart/2005/8/layout/target3"/>
    <dgm:cxn modelId="{C8780BC7-78AB-4404-AA43-69E4DAC9A3E7}" type="presOf" srcId="{A44FB402-4016-4040-9F32-683DE0697B2C}" destId="{1CBF9F91-F772-4757-9718-56D121BD5D16}" srcOrd="0" destOrd="0" presId="urn:microsoft.com/office/officeart/2005/8/layout/target3"/>
    <dgm:cxn modelId="{FC82D46F-4458-433B-AF53-34EDE587E04A}" type="presParOf" srcId="{64AE2BA9-75EE-44FB-912E-68475CAB60BD}" destId="{172EEDD0-01B8-42E8-B031-5801397170FC}" srcOrd="0" destOrd="0" presId="urn:microsoft.com/office/officeart/2005/8/layout/target3"/>
    <dgm:cxn modelId="{8B342C1E-9BF5-4BC0-9E79-49E735FE4E74}" type="presParOf" srcId="{64AE2BA9-75EE-44FB-912E-68475CAB60BD}" destId="{7637C12B-FA01-4716-A91D-A07180C0FD15}" srcOrd="1" destOrd="0" presId="urn:microsoft.com/office/officeart/2005/8/layout/target3"/>
    <dgm:cxn modelId="{0F5091D0-B664-4B5F-A4D8-7909B49820DD}" type="presParOf" srcId="{64AE2BA9-75EE-44FB-912E-68475CAB60BD}" destId="{1CBF9F91-F772-4757-9718-56D121BD5D16}" srcOrd="2" destOrd="0" presId="urn:microsoft.com/office/officeart/2005/8/layout/target3"/>
    <dgm:cxn modelId="{6DE47FDD-8FB2-4471-A0CB-B923B828E7DF}" type="presParOf" srcId="{64AE2BA9-75EE-44FB-912E-68475CAB60BD}" destId="{6C35BBC7-28DF-48D4-91AA-B180226456A9}" srcOrd="3" destOrd="0" presId="urn:microsoft.com/office/officeart/2005/8/layout/target3"/>
    <dgm:cxn modelId="{906D267E-91BE-4CA4-BC3B-95E65F5940E9}" type="presParOf" srcId="{64AE2BA9-75EE-44FB-912E-68475CAB60BD}" destId="{279C61D0-B274-41A9-A040-134FF1CD0705}" srcOrd="4" destOrd="0" presId="urn:microsoft.com/office/officeart/2005/8/layout/target3"/>
    <dgm:cxn modelId="{430DA088-BB2E-4D69-B2C2-B2E54ABA65AD}" type="presParOf" srcId="{64AE2BA9-75EE-44FB-912E-68475CAB60BD}" destId="{E5BCB7EF-1BDC-40A4-A834-55FE00045C06}" srcOrd="5" destOrd="0" presId="urn:microsoft.com/office/officeart/2005/8/layout/target3"/>
    <dgm:cxn modelId="{3A64E655-F3CA-4B36-8E10-4C2FFAC4F9A3}" type="presParOf" srcId="{64AE2BA9-75EE-44FB-912E-68475CAB60BD}" destId="{46567946-E860-4002-A6CB-05E20661F837}" srcOrd="6" destOrd="0" presId="urn:microsoft.com/office/officeart/2005/8/layout/target3"/>
    <dgm:cxn modelId="{3888FA50-F297-432C-8B91-2E5BB6D99D9C}" type="presParOf" srcId="{64AE2BA9-75EE-44FB-912E-68475CAB60BD}" destId="{F09647BD-BED5-44E3-93A2-08E039A5C707}" srcOrd="7" destOrd="0" presId="urn:microsoft.com/office/officeart/2005/8/layout/targe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A30AB-085D-4A5D-9CBB-208A50A3890D}">
      <dsp:nvSpPr>
        <dsp:cNvPr id="0" name=""/>
        <dsp:cNvSpPr/>
      </dsp:nvSpPr>
      <dsp:spPr>
        <a:xfrm>
          <a:off x="471830" y="43891"/>
          <a:ext cx="1799539" cy="1799539"/>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733FA7D7-0A7B-4AF9-A0D4-21A5FB4B2E3D}">
      <dsp:nvSpPr>
        <dsp:cNvPr id="0" name=""/>
        <dsp:cNvSpPr/>
      </dsp:nvSpPr>
      <dsp:spPr>
        <a:xfrm>
          <a:off x="1371600" y="43891"/>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9850" rIns="0" bIns="69850" numCol="1" spcCol="1270" anchor="ctr" anchorCtr="0">
          <a:noAutofit/>
        </a:bodyPr>
        <a:lstStyle/>
        <a:p>
          <a:pPr marL="0" lvl="0" indent="0" algn="l" defTabSz="2444750">
            <a:lnSpc>
              <a:spcPct val="90000"/>
            </a:lnSpc>
            <a:spcBef>
              <a:spcPct val="0"/>
            </a:spcBef>
            <a:spcAft>
              <a:spcPct val="35000"/>
            </a:spcAft>
            <a:buNone/>
          </a:pPr>
          <a:r>
            <a:rPr lang="en-US" sz="5500" kern="1200" baseline="0"/>
            <a:t>Parameter Attribute</a:t>
          </a:r>
          <a:endParaRPr lang="en-US" sz="5500" kern="1200"/>
        </a:p>
      </dsp:txBody>
      <dsp:txXfrm>
        <a:off x="1371600" y="43891"/>
        <a:ext cx="9601200" cy="1799539"/>
      </dsp:txXfrm>
    </dsp:sp>
    <dsp:sp modelId="{8760CCA7-EC25-4DB7-8FC4-8CBA9E462D37}">
      <dsp:nvSpPr>
        <dsp:cNvPr id="0" name=""/>
        <dsp:cNvSpPr/>
      </dsp:nvSpPr>
      <dsp:spPr>
        <a:xfrm>
          <a:off x="471830" y="1843430"/>
          <a:ext cx="1799539" cy="1799539"/>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B0D3FE8-96C7-44AB-B45F-136E597E39B5}">
      <dsp:nvSpPr>
        <dsp:cNvPr id="0" name=""/>
        <dsp:cNvSpPr/>
      </dsp:nvSpPr>
      <dsp:spPr>
        <a:xfrm>
          <a:off x="1371600" y="1843430"/>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9850" rIns="0" bIns="69850" numCol="1" spcCol="1270" anchor="ctr" anchorCtr="0">
          <a:noAutofit/>
        </a:bodyPr>
        <a:lstStyle/>
        <a:p>
          <a:pPr marL="0" lvl="0" indent="0" algn="l" defTabSz="2444750">
            <a:lnSpc>
              <a:spcPct val="90000"/>
            </a:lnSpc>
            <a:spcBef>
              <a:spcPct val="0"/>
            </a:spcBef>
            <a:spcAft>
              <a:spcPct val="35000"/>
            </a:spcAft>
            <a:buNone/>
          </a:pPr>
          <a:r>
            <a:rPr lang="en-US" sz="5500" kern="1200"/>
            <a:t>Alias Attribute</a:t>
          </a:r>
        </a:p>
      </dsp:txBody>
      <dsp:txXfrm>
        <a:off x="1371600" y="1843430"/>
        <a:ext cx="9601200" cy="1799539"/>
      </dsp:txXfrm>
    </dsp:sp>
    <dsp:sp modelId="{AD2E48C8-9097-4AB1-A148-EAF663F7DFD9}">
      <dsp:nvSpPr>
        <dsp:cNvPr id="0" name=""/>
        <dsp:cNvSpPr/>
      </dsp:nvSpPr>
      <dsp:spPr>
        <a:xfrm>
          <a:off x="471830" y="3642969"/>
          <a:ext cx="1799539" cy="1799539"/>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22B7A49F-F530-445E-9861-44087CF4912E}">
      <dsp:nvSpPr>
        <dsp:cNvPr id="0" name=""/>
        <dsp:cNvSpPr/>
      </dsp:nvSpPr>
      <dsp:spPr>
        <a:xfrm>
          <a:off x="1371600" y="3642969"/>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69850" rIns="0" bIns="69850" numCol="1" spcCol="1270" anchor="ctr" anchorCtr="0">
          <a:noAutofit/>
        </a:bodyPr>
        <a:lstStyle/>
        <a:p>
          <a:pPr marL="0" lvl="0" indent="0" algn="l" defTabSz="2444750">
            <a:lnSpc>
              <a:spcPct val="90000"/>
            </a:lnSpc>
            <a:spcBef>
              <a:spcPct val="0"/>
            </a:spcBef>
            <a:spcAft>
              <a:spcPct val="35000"/>
            </a:spcAft>
            <a:buNone/>
          </a:pPr>
          <a:r>
            <a:rPr lang="en-US" sz="5500" kern="1200" baseline="0"/>
            <a:t>Parameter Validation Attributes</a:t>
          </a:r>
          <a:endParaRPr lang="en-US" sz="5500" kern="1200"/>
        </a:p>
      </dsp:txBody>
      <dsp:txXfrm>
        <a:off x="1371600" y="3642969"/>
        <a:ext cx="9601200" cy="179953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C7F873-DA56-47DA-9597-61CA982585EB}">
      <dsp:nvSpPr>
        <dsp:cNvPr id="0" name=""/>
        <dsp:cNvSpPr/>
      </dsp:nvSpPr>
      <dsp:spPr>
        <a:xfrm>
          <a:off x="0" y="0"/>
          <a:ext cx="2194560" cy="2194560"/>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CB30C2-79F3-4746-98E2-5E25DBB1D459}">
      <dsp:nvSpPr>
        <dsp:cNvPr id="0" name=""/>
        <dsp:cNvSpPr/>
      </dsp:nvSpPr>
      <dsp:spPr>
        <a:xfrm>
          <a:off x="1097280" y="0"/>
          <a:ext cx="9875520" cy="219456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llows the parameter to accept </a:t>
          </a:r>
          <a:r>
            <a:rPr lang="en-US" sz="2800" b="1" kern="1200"/>
            <a:t>overflow</a:t>
          </a:r>
          <a:r>
            <a:rPr lang="en-US" sz="2800" kern="1200"/>
            <a:t> parameters</a:t>
          </a:r>
        </a:p>
      </dsp:txBody>
      <dsp:txXfrm>
        <a:off x="1097280" y="0"/>
        <a:ext cx="9875520" cy="466344"/>
      </dsp:txXfrm>
    </dsp:sp>
    <dsp:sp modelId="{FF02340A-6CA9-41E2-AC89-254E3D369D80}">
      <dsp:nvSpPr>
        <dsp:cNvPr id="0" name=""/>
        <dsp:cNvSpPr/>
      </dsp:nvSpPr>
      <dsp:spPr>
        <a:xfrm>
          <a:off x="288036" y="466343"/>
          <a:ext cx="1618488" cy="1618488"/>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63858D-2CD5-45FF-9091-B05092439B57}">
      <dsp:nvSpPr>
        <dsp:cNvPr id="0" name=""/>
        <dsp:cNvSpPr/>
      </dsp:nvSpPr>
      <dsp:spPr>
        <a:xfrm>
          <a:off x="1097280" y="466343"/>
          <a:ext cx="9875520" cy="161848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The parameter type is </a:t>
          </a:r>
          <a:r>
            <a:rPr lang="en-US" sz="2800" b="1" kern="1200"/>
            <a:t>converted</a:t>
          </a:r>
          <a:r>
            <a:rPr lang="en-US" sz="2800" kern="1200"/>
            <a:t> to an </a:t>
          </a:r>
          <a:r>
            <a:rPr lang="en-US" sz="2800" b="1" kern="1200"/>
            <a:t>array</a:t>
          </a:r>
          <a:r>
            <a:rPr lang="en-US" sz="2800" kern="1200"/>
            <a:t> of objects</a:t>
          </a:r>
        </a:p>
      </dsp:txBody>
      <dsp:txXfrm>
        <a:off x="1097280" y="466343"/>
        <a:ext cx="9875520" cy="466344"/>
      </dsp:txXfrm>
    </dsp:sp>
    <dsp:sp modelId="{ED5878ED-DFE8-4C40-BBF0-E2BDC75B2F85}">
      <dsp:nvSpPr>
        <dsp:cNvPr id="0" name=""/>
        <dsp:cNvSpPr/>
      </dsp:nvSpPr>
      <dsp:spPr>
        <a:xfrm>
          <a:off x="576072" y="932688"/>
          <a:ext cx="1042416" cy="104241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737AFE-F3F5-4CDB-AB4C-4E39992988A0}">
      <dsp:nvSpPr>
        <dsp:cNvPr id="0" name=""/>
        <dsp:cNvSpPr/>
      </dsp:nvSpPr>
      <dsp:spPr>
        <a:xfrm>
          <a:off x="1097280" y="932688"/>
          <a:ext cx="9875520" cy="104241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Forces the parameter to be the </a:t>
          </a:r>
          <a:r>
            <a:rPr lang="en-US" sz="2800" b="1" kern="1200"/>
            <a:t>last position</a:t>
          </a:r>
        </a:p>
      </dsp:txBody>
      <dsp:txXfrm>
        <a:off x="1097280" y="932688"/>
        <a:ext cx="9875520" cy="466344"/>
      </dsp:txXfrm>
    </dsp:sp>
    <dsp:sp modelId="{19BA4C63-90DB-49CD-8D31-0D726ACE54CF}">
      <dsp:nvSpPr>
        <dsp:cNvPr id="0" name=""/>
        <dsp:cNvSpPr/>
      </dsp:nvSpPr>
      <dsp:spPr>
        <a:xfrm>
          <a:off x="864108" y="1399031"/>
          <a:ext cx="466344" cy="466344"/>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30CBF4-E727-48D8-B2F6-3E78177AD0BA}">
      <dsp:nvSpPr>
        <dsp:cNvPr id="0" name=""/>
        <dsp:cNvSpPr/>
      </dsp:nvSpPr>
      <dsp:spPr>
        <a:xfrm>
          <a:off x="1097280" y="1399031"/>
          <a:ext cx="9875520" cy="46634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Only allowed on a </a:t>
          </a:r>
          <a:r>
            <a:rPr lang="en-US" sz="2800" b="1" kern="1200"/>
            <a:t>single</a:t>
          </a:r>
          <a:r>
            <a:rPr lang="en-US" sz="2800" kern="1200"/>
            <a:t> parameter</a:t>
          </a:r>
        </a:p>
      </dsp:txBody>
      <dsp:txXfrm>
        <a:off x="1097280" y="1399031"/>
        <a:ext cx="9875520" cy="46634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607FB0-C7E8-4E93-A6D2-F7A2A88A39F6}">
      <dsp:nvSpPr>
        <dsp:cNvPr id="0" name=""/>
        <dsp:cNvSpPr/>
      </dsp:nvSpPr>
      <dsp:spPr>
        <a:xfrm>
          <a:off x="0" y="1720793"/>
          <a:ext cx="10972800" cy="56480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a:t>Invalid parameter input returns an error</a:t>
          </a:r>
        </a:p>
      </dsp:txBody>
      <dsp:txXfrm>
        <a:off x="0" y="1720793"/>
        <a:ext cx="10972800" cy="564802"/>
      </dsp:txXfrm>
    </dsp:sp>
    <dsp:sp modelId="{4EE1EF53-C05B-4FFC-AE52-977AD8A21C83}">
      <dsp:nvSpPr>
        <dsp:cNvPr id="0" name=""/>
        <dsp:cNvSpPr/>
      </dsp:nvSpPr>
      <dsp:spPr>
        <a:xfrm rot="10800000">
          <a:off x="0" y="860598"/>
          <a:ext cx="10972800" cy="86866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baseline="0"/>
            <a:t>Validates values before executing code</a:t>
          </a:r>
          <a:endParaRPr lang="en-US" sz="2600" kern="1200"/>
        </a:p>
      </dsp:txBody>
      <dsp:txXfrm rot="10800000">
        <a:off x="0" y="860598"/>
        <a:ext cx="10972800" cy="564433"/>
      </dsp:txXfrm>
    </dsp:sp>
    <dsp:sp modelId="{2F02FF1D-F59F-4CE0-8A63-E4C81D557683}">
      <dsp:nvSpPr>
        <dsp:cNvPr id="0" name=""/>
        <dsp:cNvSpPr/>
      </dsp:nvSpPr>
      <dsp:spPr>
        <a:xfrm rot="10800000">
          <a:off x="0" y="404"/>
          <a:ext cx="10972800" cy="86866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baseline="0"/>
            <a:t>Provides built-in parameter input validation</a:t>
          </a:r>
          <a:endParaRPr lang="en-US" sz="2600" kern="1200"/>
        </a:p>
      </dsp:txBody>
      <dsp:txXfrm rot="10800000">
        <a:off x="0" y="404"/>
        <a:ext cx="10972800" cy="56443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1B3AE-D428-4453-BCC9-687E54AFB595}">
      <dsp:nvSpPr>
        <dsp:cNvPr id="0" name=""/>
        <dsp:cNvSpPr/>
      </dsp:nvSpPr>
      <dsp:spPr>
        <a:xfrm>
          <a:off x="0" y="1562"/>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608983-2A3C-464E-8E88-9CDE739C16E1}">
      <dsp:nvSpPr>
        <dsp:cNvPr id="0" name=""/>
        <dsp:cNvSpPr/>
      </dsp:nvSpPr>
      <dsp:spPr>
        <a:xfrm>
          <a:off x="0" y="1562"/>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AllowNull</a:t>
          </a:r>
          <a:r>
            <a:rPr lang="en-US" sz="2400" kern="1200"/>
            <a:t>()</a:t>
          </a:r>
        </a:p>
      </dsp:txBody>
      <dsp:txXfrm>
        <a:off x="0" y="1562"/>
        <a:ext cx="4572000" cy="532879"/>
      </dsp:txXfrm>
    </dsp:sp>
    <dsp:sp modelId="{D3225FB0-E857-4587-ACFB-6B4BA459FFD4}">
      <dsp:nvSpPr>
        <dsp:cNvPr id="0" name=""/>
        <dsp:cNvSpPr/>
      </dsp:nvSpPr>
      <dsp:spPr>
        <a:xfrm>
          <a:off x="0" y="534441"/>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EA1A85-6EAE-4D4F-B7BE-F3FD3597DFF1}">
      <dsp:nvSpPr>
        <dsp:cNvPr id="0" name=""/>
        <dsp:cNvSpPr/>
      </dsp:nvSpPr>
      <dsp:spPr>
        <a:xfrm>
          <a:off x="0" y="534441"/>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AllowEmptyString</a:t>
          </a:r>
          <a:r>
            <a:rPr lang="en-US" sz="2400" kern="1200"/>
            <a:t>()</a:t>
          </a:r>
        </a:p>
      </dsp:txBody>
      <dsp:txXfrm>
        <a:off x="0" y="534441"/>
        <a:ext cx="4572000" cy="532879"/>
      </dsp:txXfrm>
    </dsp:sp>
    <dsp:sp modelId="{83C30FF5-A5EE-4399-935D-F7BB93F34817}">
      <dsp:nvSpPr>
        <dsp:cNvPr id="0" name=""/>
        <dsp:cNvSpPr/>
      </dsp:nvSpPr>
      <dsp:spPr>
        <a:xfrm>
          <a:off x="0" y="1067320"/>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0339B3-FE9C-4379-B55F-B3964F87AE25}">
      <dsp:nvSpPr>
        <dsp:cNvPr id="0" name=""/>
        <dsp:cNvSpPr/>
      </dsp:nvSpPr>
      <dsp:spPr>
        <a:xfrm>
          <a:off x="0" y="1067320"/>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AllowEmptyCollection</a:t>
          </a:r>
          <a:r>
            <a:rPr lang="en-US" sz="2400" kern="1200"/>
            <a:t>()</a:t>
          </a:r>
        </a:p>
      </dsp:txBody>
      <dsp:txXfrm>
        <a:off x="0" y="1067320"/>
        <a:ext cx="4572000" cy="532879"/>
      </dsp:txXfrm>
    </dsp:sp>
    <dsp:sp modelId="{B4116B71-374D-4752-A20D-5CB10B79C016}">
      <dsp:nvSpPr>
        <dsp:cNvPr id="0" name=""/>
        <dsp:cNvSpPr/>
      </dsp:nvSpPr>
      <dsp:spPr>
        <a:xfrm>
          <a:off x="0" y="1600200"/>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2D1895-F426-4563-A341-2989108E0918}">
      <dsp:nvSpPr>
        <dsp:cNvPr id="0" name=""/>
        <dsp:cNvSpPr/>
      </dsp:nvSpPr>
      <dsp:spPr>
        <a:xfrm>
          <a:off x="0" y="1600200"/>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Count</a:t>
          </a:r>
          <a:r>
            <a:rPr lang="en-US" sz="2400" kern="1200"/>
            <a:t>()</a:t>
          </a:r>
        </a:p>
      </dsp:txBody>
      <dsp:txXfrm>
        <a:off x="0" y="1600200"/>
        <a:ext cx="4572000" cy="532879"/>
      </dsp:txXfrm>
    </dsp:sp>
    <dsp:sp modelId="{C13BABA0-BE77-4908-929F-3D4B074E7641}">
      <dsp:nvSpPr>
        <dsp:cNvPr id="0" name=""/>
        <dsp:cNvSpPr/>
      </dsp:nvSpPr>
      <dsp:spPr>
        <a:xfrm>
          <a:off x="0" y="2133079"/>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BB346A-9063-4148-921A-CFAC107E8278}">
      <dsp:nvSpPr>
        <dsp:cNvPr id="0" name=""/>
        <dsp:cNvSpPr/>
      </dsp:nvSpPr>
      <dsp:spPr>
        <a:xfrm>
          <a:off x="0" y="2133079"/>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Length</a:t>
          </a:r>
          <a:r>
            <a:rPr lang="en-US" sz="2400" kern="1200"/>
            <a:t>()</a:t>
          </a:r>
        </a:p>
      </dsp:txBody>
      <dsp:txXfrm>
        <a:off x="0" y="2133079"/>
        <a:ext cx="4572000" cy="532879"/>
      </dsp:txXfrm>
    </dsp:sp>
    <dsp:sp modelId="{310B1B0A-D337-4351-B093-487BADCC141B}">
      <dsp:nvSpPr>
        <dsp:cNvPr id="0" name=""/>
        <dsp:cNvSpPr/>
      </dsp:nvSpPr>
      <dsp:spPr>
        <a:xfrm>
          <a:off x="0" y="2665958"/>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EA68C8-4C2E-4A08-AE48-A68ABDB0E7A1}">
      <dsp:nvSpPr>
        <dsp:cNvPr id="0" name=""/>
        <dsp:cNvSpPr/>
      </dsp:nvSpPr>
      <dsp:spPr>
        <a:xfrm>
          <a:off x="0" y="2665958"/>
          <a:ext cx="4572000" cy="532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Pattern</a:t>
          </a:r>
          <a:r>
            <a:rPr lang="en-US" sz="2400" kern="1200"/>
            <a:t>()</a:t>
          </a:r>
        </a:p>
      </dsp:txBody>
      <dsp:txXfrm>
        <a:off x="0" y="2665958"/>
        <a:ext cx="4572000" cy="53287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1B3AE-D428-4453-BCC9-687E54AFB595}">
      <dsp:nvSpPr>
        <dsp:cNvPr id="0" name=""/>
        <dsp:cNvSpPr/>
      </dsp:nvSpPr>
      <dsp:spPr>
        <a:xfrm>
          <a:off x="0" y="390"/>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608983-2A3C-464E-8E88-9CDE739C16E1}">
      <dsp:nvSpPr>
        <dsp:cNvPr id="0" name=""/>
        <dsp:cNvSpPr/>
      </dsp:nvSpPr>
      <dsp:spPr>
        <a:xfrm>
          <a:off x="0" y="390"/>
          <a:ext cx="4572000" cy="639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Range</a:t>
          </a:r>
          <a:r>
            <a:rPr lang="en-US" sz="2400" kern="1200"/>
            <a:t>()</a:t>
          </a:r>
        </a:p>
      </dsp:txBody>
      <dsp:txXfrm>
        <a:off x="0" y="390"/>
        <a:ext cx="4572000" cy="639923"/>
      </dsp:txXfrm>
    </dsp:sp>
    <dsp:sp modelId="{7378DB49-F068-46BA-8218-80B72C844AE2}">
      <dsp:nvSpPr>
        <dsp:cNvPr id="0" name=""/>
        <dsp:cNvSpPr/>
      </dsp:nvSpPr>
      <dsp:spPr>
        <a:xfrm>
          <a:off x="0" y="640314"/>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043F36-44E5-4DC5-BEFB-9DE24290D02D}">
      <dsp:nvSpPr>
        <dsp:cNvPr id="0" name=""/>
        <dsp:cNvSpPr/>
      </dsp:nvSpPr>
      <dsp:spPr>
        <a:xfrm>
          <a:off x="0" y="640314"/>
          <a:ext cx="4572000" cy="639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Script</a:t>
          </a:r>
          <a:r>
            <a:rPr lang="en-US" sz="2400" kern="1200"/>
            <a:t>()</a:t>
          </a:r>
        </a:p>
      </dsp:txBody>
      <dsp:txXfrm>
        <a:off x="0" y="640314"/>
        <a:ext cx="4572000" cy="639923"/>
      </dsp:txXfrm>
    </dsp:sp>
    <dsp:sp modelId="{47588B18-AFE3-4A03-9416-7720DC4ED892}">
      <dsp:nvSpPr>
        <dsp:cNvPr id="0" name=""/>
        <dsp:cNvSpPr/>
      </dsp:nvSpPr>
      <dsp:spPr>
        <a:xfrm>
          <a:off x="0" y="1280238"/>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74C209-B56C-4A21-93DC-13A26BCC0E8B}">
      <dsp:nvSpPr>
        <dsp:cNvPr id="0" name=""/>
        <dsp:cNvSpPr/>
      </dsp:nvSpPr>
      <dsp:spPr>
        <a:xfrm>
          <a:off x="0" y="1280238"/>
          <a:ext cx="4572000" cy="639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Set</a:t>
          </a:r>
          <a:r>
            <a:rPr lang="en-US" sz="2400" kern="1200"/>
            <a:t>()</a:t>
          </a:r>
        </a:p>
      </dsp:txBody>
      <dsp:txXfrm>
        <a:off x="0" y="1280238"/>
        <a:ext cx="4572000" cy="639923"/>
      </dsp:txXfrm>
    </dsp:sp>
    <dsp:sp modelId="{B0786EC5-0172-4A90-91F0-2CD48343CC2C}">
      <dsp:nvSpPr>
        <dsp:cNvPr id="0" name=""/>
        <dsp:cNvSpPr/>
      </dsp:nvSpPr>
      <dsp:spPr>
        <a:xfrm>
          <a:off x="0" y="1920161"/>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6DF2E1-5827-4B54-88A8-57A8333A80ED}">
      <dsp:nvSpPr>
        <dsp:cNvPr id="0" name=""/>
        <dsp:cNvSpPr/>
      </dsp:nvSpPr>
      <dsp:spPr>
        <a:xfrm>
          <a:off x="0" y="1920161"/>
          <a:ext cx="4572000" cy="639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NotNull</a:t>
          </a:r>
          <a:r>
            <a:rPr lang="en-US" sz="2400" kern="1200"/>
            <a:t>()</a:t>
          </a:r>
        </a:p>
      </dsp:txBody>
      <dsp:txXfrm>
        <a:off x="0" y="1920161"/>
        <a:ext cx="4572000" cy="639923"/>
      </dsp:txXfrm>
    </dsp:sp>
    <dsp:sp modelId="{D69C07B1-89BA-40B1-ABC2-3F15D4481D4B}">
      <dsp:nvSpPr>
        <dsp:cNvPr id="0" name=""/>
        <dsp:cNvSpPr/>
      </dsp:nvSpPr>
      <dsp:spPr>
        <a:xfrm>
          <a:off x="0" y="2560085"/>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0A5AD2-5001-441D-923F-2658220090EF}">
      <dsp:nvSpPr>
        <dsp:cNvPr id="0" name=""/>
        <dsp:cNvSpPr/>
      </dsp:nvSpPr>
      <dsp:spPr>
        <a:xfrm>
          <a:off x="0" y="2560085"/>
          <a:ext cx="4572000" cy="639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ValidateNotNullOrEmpty</a:t>
          </a:r>
          <a:r>
            <a:rPr lang="en-US" sz="2400" kern="1200"/>
            <a:t>()</a:t>
          </a:r>
        </a:p>
      </dsp:txBody>
      <dsp:txXfrm>
        <a:off x="0" y="2560085"/>
        <a:ext cx="4572000" cy="63992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4529EB-844A-4D0D-87FB-7DDE1799411F}">
      <dsp:nvSpPr>
        <dsp:cNvPr id="0" name=""/>
        <dsp:cNvSpPr/>
      </dsp:nvSpPr>
      <dsp:spPr>
        <a:xfrm>
          <a:off x="0" y="114299"/>
          <a:ext cx="3428999" cy="20574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latin typeface="+mn-lt"/>
            </a:rPr>
            <a:t>Specifies a set of </a:t>
          </a:r>
          <a:r>
            <a:rPr lang="en-US" sz="2800" b="1" kern="1200" baseline="0">
              <a:latin typeface="+mn-lt"/>
            </a:rPr>
            <a:t>valid values </a:t>
          </a:r>
          <a:r>
            <a:rPr lang="en-US" sz="2800" kern="1200" baseline="0">
              <a:latin typeface="+mn-lt"/>
            </a:rPr>
            <a:t>for a parameter or variable</a:t>
          </a:r>
          <a:endParaRPr lang="en-US" sz="2800" kern="1200">
            <a:latin typeface="+mn-lt"/>
          </a:endParaRPr>
        </a:p>
      </dsp:txBody>
      <dsp:txXfrm>
        <a:off x="0" y="114299"/>
        <a:ext cx="3428999" cy="2057400"/>
      </dsp:txXfrm>
    </dsp:sp>
    <dsp:sp modelId="{A4A6DD39-2B09-4928-A26A-A4D65328C4B8}">
      <dsp:nvSpPr>
        <dsp:cNvPr id="0" name=""/>
        <dsp:cNvSpPr/>
      </dsp:nvSpPr>
      <dsp:spPr>
        <a:xfrm>
          <a:off x="3771900" y="114299"/>
          <a:ext cx="3428999" cy="20574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latin typeface="+mn-lt"/>
            </a:rPr>
            <a:t>PowerShell generates an </a:t>
          </a:r>
          <a:r>
            <a:rPr lang="en-US" sz="2800" b="1" kern="1200" baseline="0">
              <a:latin typeface="+mn-lt"/>
            </a:rPr>
            <a:t>error</a:t>
          </a:r>
          <a:r>
            <a:rPr lang="en-US" sz="2800" kern="1200" baseline="0">
              <a:latin typeface="+mn-lt"/>
            </a:rPr>
            <a:t> if a value does not exist in the set</a:t>
          </a:r>
          <a:endParaRPr lang="en-US" sz="2800" kern="1200">
            <a:latin typeface="+mn-lt"/>
          </a:endParaRPr>
        </a:p>
      </dsp:txBody>
      <dsp:txXfrm>
        <a:off x="3771900" y="114299"/>
        <a:ext cx="3428999" cy="2057400"/>
      </dsp:txXfrm>
    </dsp:sp>
    <dsp:sp modelId="{8FBF0A11-095A-4AED-92ED-85A7741DD2F3}">
      <dsp:nvSpPr>
        <dsp:cNvPr id="0" name=""/>
        <dsp:cNvSpPr/>
      </dsp:nvSpPr>
      <dsp:spPr>
        <a:xfrm>
          <a:off x="7543800" y="114299"/>
          <a:ext cx="3428999" cy="20574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0" kern="1200" baseline="0">
              <a:latin typeface="+mn-lt"/>
              <a:ea typeface="+mn-ea"/>
              <a:cs typeface="+mn-cs"/>
            </a:rPr>
            <a:t>IntelliSense</a:t>
          </a:r>
          <a:r>
            <a:rPr lang="en-US" sz="2800" kern="1200" baseline="0">
              <a:latin typeface="+mn-lt"/>
              <a:ea typeface="+mn-ea"/>
              <a:cs typeface="+mn-cs"/>
            </a:rPr>
            <a:t> </a:t>
          </a:r>
          <a:r>
            <a:rPr lang="en-US" sz="2800" b="1" kern="1200" baseline="0">
              <a:latin typeface="+mn-lt"/>
              <a:ea typeface="+mn-ea"/>
              <a:cs typeface="+mn-cs"/>
            </a:rPr>
            <a:t>suggests</a:t>
          </a:r>
          <a:r>
            <a:rPr lang="en-US" sz="2800" kern="1200" baseline="0">
              <a:latin typeface="+mn-lt"/>
              <a:ea typeface="+mn-ea"/>
              <a:cs typeface="+mn-cs"/>
            </a:rPr>
            <a:t> accepted values</a:t>
          </a:r>
        </a:p>
      </dsp:txBody>
      <dsp:txXfrm>
        <a:off x="7543800" y="114299"/>
        <a:ext cx="3428999" cy="20574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34D910-82B0-4B49-B4FF-3E8B3FCC921E}">
      <dsp:nvSpPr>
        <dsp:cNvPr id="0" name=""/>
        <dsp:cNvSpPr/>
      </dsp:nvSpPr>
      <dsp:spPr>
        <a:xfrm>
          <a:off x="0" y="509"/>
          <a:ext cx="429768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0ED771-CB9D-4635-BBFD-07089361C9D6}">
      <dsp:nvSpPr>
        <dsp:cNvPr id="0" name=""/>
        <dsp:cNvSpPr/>
      </dsp:nvSpPr>
      <dsp:spPr>
        <a:xfrm>
          <a:off x="0" y="509"/>
          <a:ext cx="4297680" cy="6972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Range</a:t>
          </a:r>
          <a:r>
            <a:rPr lang="en-AU" sz="2800" kern="1200"/>
            <a:t>(min, max)</a:t>
          </a:r>
          <a:endParaRPr lang="en-US" sz="2800" kern="1200"/>
        </a:p>
      </dsp:txBody>
      <dsp:txXfrm>
        <a:off x="0" y="509"/>
        <a:ext cx="4297680" cy="697274"/>
      </dsp:txXfrm>
    </dsp:sp>
    <dsp:sp modelId="{B73D4064-7AFE-40BA-AC18-86527978332B}">
      <dsp:nvSpPr>
        <dsp:cNvPr id="0" name=""/>
        <dsp:cNvSpPr/>
      </dsp:nvSpPr>
      <dsp:spPr>
        <a:xfrm>
          <a:off x="0" y="697783"/>
          <a:ext cx="429768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985A8C-EEA8-4276-B212-FC919DFDE219}">
      <dsp:nvSpPr>
        <dsp:cNvPr id="0" name=""/>
        <dsp:cNvSpPr/>
      </dsp:nvSpPr>
      <dsp:spPr>
        <a:xfrm>
          <a:off x="0" y="697783"/>
          <a:ext cx="4293483" cy="707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Count</a:t>
          </a:r>
          <a:r>
            <a:rPr lang="en-AU" sz="2800" kern="1200"/>
            <a:t>(min, max)</a:t>
          </a:r>
          <a:endParaRPr lang="en-US" sz="2800" kern="1200"/>
        </a:p>
      </dsp:txBody>
      <dsp:txXfrm>
        <a:off x="0" y="697783"/>
        <a:ext cx="4293483" cy="707552"/>
      </dsp:txXfrm>
    </dsp:sp>
    <dsp:sp modelId="{FBBFFB22-C268-44C7-9CF9-AD27A5DEC4AA}">
      <dsp:nvSpPr>
        <dsp:cNvPr id="0" name=""/>
        <dsp:cNvSpPr/>
      </dsp:nvSpPr>
      <dsp:spPr>
        <a:xfrm>
          <a:off x="0" y="1405336"/>
          <a:ext cx="429768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006638-BD80-44D8-BE74-128830346805}">
      <dsp:nvSpPr>
        <dsp:cNvPr id="0" name=""/>
        <dsp:cNvSpPr/>
      </dsp:nvSpPr>
      <dsp:spPr>
        <a:xfrm>
          <a:off x="0" y="1405336"/>
          <a:ext cx="4297680" cy="6972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Length</a:t>
          </a:r>
          <a:r>
            <a:rPr lang="en-AU" sz="2800" kern="1200"/>
            <a:t>(min, max)</a:t>
          </a:r>
          <a:endParaRPr lang="en-US" sz="2800" kern="1200"/>
        </a:p>
      </dsp:txBody>
      <dsp:txXfrm>
        <a:off x="0" y="1405336"/>
        <a:ext cx="4297680" cy="69727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748006-7FAC-4667-98E8-93383B6800A9}">
      <dsp:nvSpPr>
        <dsp:cNvPr id="0" name=""/>
        <dsp:cNvSpPr/>
      </dsp:nvSpPr>
      <dsp:spPr>
        <a:xfrm>
          <a:off x="-2686192" y="-414319"/>
          <a:ext cx="3206079" cy="3206079"/>
        </a:xfrm>
        <a:prstGeom prst="blockArc">
          <a:avLst>
            <a:gd name="adj1" fmla="val 18900000"/>
            <a:gd name="adj2" fmla="val 2700000"/>
            <a:gd name="adj3" fmla="val 674"/>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7D5A71-2C0C-4525-B087-BFCAF5C1E080}">
      <dsp:nvSpPr>
        <dsp:cNvPr id="0" name=""/>
        <dsp:cNvSpPr/>
      </dsp:nvSpPr>
      <dsp:spPr>
        <a:xfrm>
          <a:off x="272910" y="182777"/>
          <a:ext cx="6136029" cy="365745"/>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a:t>Specifies </a:t>
          </a:r>
          <a:r>
            <a:rPr lang="en-US" sz="2400" b="1" kern="1200"/>
            <a:t>minimum</a:t>
          </a:r>
          <a:r>
            <a:rPr lang="en-US" sz="2400" kern="1200"/>
            <a:t> and </a:t>
          </a:r>
          <a:r>
            <a:rPr lang="en-US" sz="2400" b="1" kern="1200"/>
            <a:t>maximum</a:t>
          </a:r>
          <a:r>
            <a:rPr lang="en-US" sz="2400" kern="1200"/>
            <a:t> value</a:t>
          </a:r>
        </a:p>
      </dsp:txBody>
      <dsp:txXfrm>
        <a:off x="272910" y="182777"/>
        <a:ext cx="6136029" cy="365745"/>
      </dsp:txXfrm>
    </dsp:sp>
    <dsp:sp modelId="{67527477-06BE-4B88-9A03-316DD049AFE7}">
      <dsp:nvSpPr>
        <dsp:cNvPr id="0" name=""/>
        <dsp:cNvSpPr/>
      </dsp:nvSpPr>
      <dsp:spPr>
        <a:xfrm>
          <a:off x="44319" y="137059"/>
          <a:ext cx="457181" cy="457181"/>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FE5072-3DBC-475C-A222-1CDF2AB5E184}">
      <dsp:nvSpPr>
        <dsp:cNvPr id="0" name=""/>
        <dsp:cNvSpPr/>
      </dsp:nvSpPr>
      <dsp:spPr>
        <a:xfrm>
          <a:off x="482600" y="731490"/>
          <a:ext cx="5926339" cy="365745"/>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a:t>Range applies to </a:t>
          </a:r>
          <a:r>
            <a:rPr lang="en-US" sz="2400" b="1" kern="1200"/>
            <a:t>numbers</a:t>
          </a:r>
        </a:p>
      </dsp:txBody>
      <dsp:txXfrm>
        <a:off x="482600" y="731490"/>
        <a:ext cx="5926339" cy="365745"/>
      </dsp:txXfrm>
    </dsp:sp>
    <dsp:sp modelId="{EFA9BF18-3A0E-4AD5-8F5D-D2F11BC6334D}">
      <dsp:nvSpPr>
        <dsp:cNvPr id="0" name=""/>
        <dsp:cNvSpPr/>
      </dsp:nvSpPr>
      <dsp:spPr>
        <a:xfrm>
          <a:off x="254009" y="685772"/>
          <a:ext cx="457181" cy="457181"/>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86D498-32A3-4283-A3A9-4A86656E5739}">
      <dsp:nvSpPr>
        <dsp:cNvPr id="0" name=""/>
        <dsp:cNvSpPr/>
      </dsp:nvSpPr>
      <dsp:spPr>
        <a:xfrm>
          <a:off x="482600" y="1280203"/>
          <a:ext cx="5926339" cy="365745"/>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a:t>Length applies to </a:t>
          </a:r>
          <a:r>
            <a:rPr lang="en-US" sz="2400" b="1" kern="1200"/>
            <a:t>string</a:t>
          </a:r>
          <a:r>
            <a:rPr lang="en-US" sz="2400" kern="1200"/>
            <a:t> characters</a:t>
          </a:r>
        </a:p>
      </dsp:txBody>
      <dsp:txXfrm>
        <a:off x="482600" y="1280203"/>
        <a:ext cx="5926339" cy="365745"/>
      </dsp:txXfrm>
    </dsp:sp>
    <dsp:sp modelId="{FCF73459-8F18-435E-94F0-7FFECD13556E}">
      <dsp:nvSpPr>
        <dsp:cNvPr id="0" name=""/>
        <dsp:cNvSpPr/>
      </dsp:nvSpPr>
      <dsp:spPr>
        <a:xfrm>
          <a:off x="254009" y="1234485"/>
          <a:ext cx="457181" cy="457181"/>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33CE81E-6EAB-4ADE-AACE-1220B8CF8FBD}">
      <dsp:nvSpPr>
        <dsp:cNvPr id="0" name=""/>
        <dsp:cNvSpPr/>
      </dsp:nvSpPr>
      <dsp:spPr>
        <a:xfrm>
          <a:off x="272910" y="1828917"/>
          <a:ext cx="6136029" cy="365745"/>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a:t>Count applies </a:t>
          </a:r>
          <a:r>
            <a:rPr lang="en-US" sz="2400" b="1" kern="1200"/>
            <a:t>collection</a:t>
          </a:r>
          <a:r>
            <a:rPr lang="en-US" sz="2400" kern="1200"/>
            <a:t> elements</a:t>
          </a:r>
        </a:p>
      </dsp:txBody>
      <dsp:txXfrm>
        <a:off x="272910" y="1828917"/>
        <a:ext cx="6136029" cy="365745"/>
      </dsp:txXfrm>
    </dsp:sp>
    <dsp:sp modelId="{68EEF029-A383-466D-8949-C5AC299A3070}">
      <dsp:nvSpPr>
        <dsp:cNvPr id="0" name=""/>
        <dsp:cNvSpPr/>
      </dsp:nvSpPr>
      <dsp:spPr>
        <a:xfrm>
          <a:off x="44319" y="1783198"/>
          <a:ext cx="457181" cy="457181"/>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34D910-82B0-4B49-B4FF-3E8B3FCC921E}">
      <dsp:nvSpPr>
        <dsp:cNvPr id="0" name=""/>
        <dsp:cNvSpPr/>
      </dsp:nvSpPr>
      <dsp:spPr>
        <a:xfrm>
          <a:off x="0" y="0"/>
          <a:ext cx="521208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0ED771-CB9D-4635-BBFD-07089361C9D6}">
      <dsp:nvSpPr>
        <dsp:cNvPr id="0" name=""/>
        <dsp:cNvSpPr/>
      </dsp:nvSpPr>
      <dsp:spPr>
        <a:xfrm>
          <a:off x="0" y="0"/>
          <a:ext cx="5212080" cy="1051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Pattern</a:t>
          </a:r>
          <a:r>
            <a:rPr lang="en-AU" sz="2800" kern="1200"/>
            <a:t>(“</a:t>
          </a:r>
          <a:r>
            <a:rPr lang="en-AU" sz="2800" kern="1200" err="1"/>
            <a:t>RegEx</a:t>
          </a:r>
          <a:r>
            <a:rPr lang="en-AU" sz="2800" kern="1200"/>
            <a:t> Pattern”)</a:t>
          </a:r>
          <a:endParaRPr lang="en-US" sz="2800" kern="1200"/>
        </a:p>
      </dsp:txBody>
      <dsp:txXfrm>
        <a:off x="0" y="0"/>
        <a:ext cx="5212080" cy="1051560"/>
      </dsp:txXfrm>
    </dsp:sp>
    <dsp:sp modelId="{B73D4064-7AFE-40BA-AC18-86527978332B}">
      <dsp:nvSpPr>
        <dsp:cNvPr id="0" name=""/>
        <dsp:cNvSpPr/>
      </dsp:nvSpPr>
      <dsp:spPr>
        <a:xfrm>
          <a:off x="0" y="1051560"/>
          <a:ext cx="5212080" cy="0"/>
        </a:xfrm>
        <a:prstGeom prst="line">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985A8C-EEA8-4276-B212-FC919DFDE219}">
      <dsp:nvSpPr>
        <dsp:cNvPr id="0" name=""/>
        <dsp:cNvSpPr/>
      </dsp:nvSpPr>
      <dsp:spPr>
        <a:xfrm>
          <a:off x="0" y="1051560"/>
          <a:ext cx="5212080" cy="1051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Script</a:t>
          </a:r>
          <a:r>
            <a:rPr lang="en-AU" sz="2800" kern="1200"/>
            <a:t>({&lt;Script Block&gt;})</a:t>
          </a:r>
          <a:endParaRPr lang="en-US" sz="2800" kern="1200"/>
        </a:p>
      </dsp:txBody>
      <dsp:txXfrm>
        <a:off x="0" y="1051560"/>
        <a:ext cx="5212080" cy="105156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43377-9E57-4379-9DC1-364742CFB6FA}">
      <dsp:nvSpPr>
        <dsp:cNvPr id="0" name=""/>
        <dsp:cNvSpPr/>
      </dsp:nvSpPr>
      <dsp:spPr>
        <a:xfrm>
          <a:off x="-2629413" y="-405687"/>
          <a:ext cx="3138630" cy="3138630"/>
        </a:xfrm>
        <a:prstGeom prst="blockArc">
          <a:avLst>
            <a:gd name="adj1" fmla="val 18900000"/>
            <a:gd name="adj2" fmla="val 2700000"/>
            <a:gd name="adj3" fmla="val 688"/>
          </a:avLst>
        </a:pr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B28F6B-5026-4DE6-994E-72A913B73E79}">
      <dsp:nvSpPr>
        <dsp:cNvPr id="0" name=""/>
        <dsp:cNvSpPr/>
      </dsp:nvSpPr>
      <dsp:spPr>
        <a:xfrm>
          <a:off x="267339" y="178919"/>
          <a:ext cx="5282744" cy="35802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182" tIns="55880" rIns="55880" bIns="55880" numCol="1" spcCol="1270" anchor="ctr" anchorCtr="0">
          <a:noAutofit/>
        </a:bodyPr>
        <a:lstStyle/>
        <a:p>
          <a:pPr marL="0" lvl="0" indent="0" algn="l" defTabSz="977900">
            <a:lnSpc>
              <a:spcPct val="90000"/>
            </a:lnSpc>
            <a:spcBef>
              <a:spcPct val="0"/>
            </a:spcBef>
            <a:spcAft>
              <a:spcPct val="35000"/>
            </a:spcAft>
            <a:buNone/>
          </a:pPr>
          <a:r>
            <a:rPr lang="en-US" sz="2200" b="1" kern="1200"/>
            <a:t>Regular Expressions </a:t>
          </a:r>
          <a:r>
            <a:rPr lang="en-US" sz="2200" kern="1200"/>
            <a:t>validate value</a:t>
          </a:r>
        </a:p>
      </dsp:txBody>
      <dsp:txXfrm>
        <a:off x="267339" y="178919"/>
        <a:ext cx="5282744" cy="358024"/>
      </dsp:txXfrm>
    </dsp:sp>
    <dsp:sp modelId="{6EC9A411-B7A9-4422-8C94-6C5F5F2DD986}">
      <dsp:nvSpPr>
        <dsp:cNvPr id="0" name=""/>
        <dsp:cNvSpPr/>
      </dsp:nvSpPr>
      <dsp:spPr>
        <a:xfrm>
          <a:off x="43573" y="134166"/>
          <a:ext cx="447531" cy="44753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2F868A-37D2-42FA-AE14-2464B85FC097}">
      <dsp:nvSpPr>
        <dsp:cNvPr id="0" name=""/>
        <dsp:cNvSpPr/>
      </dsp:nvSpPr>
      <dsp:spPr>
        <a:xfrm>
          <a:off x="472603" y="716049"/>
          <a:ext cx="5077480" cy="35802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182" tIns="55880" rIns="55880" bIns="55880" numCol="1" spcCol="1270" anchor="ctr" anchorCtr="0">
          <a:noAutofit/>
        </a:bodyPr>
        <a:lstStyle/>
        <a:p>
          <a:pPr marL="0" lvl="0" indent="0" algn="l" defTabSz="977900">
            <a:lnSpc>
              <a:spcPct val="90000"/>
            </a:lnSpc>
            <a:spcBef>
              <a:spcPct val="0"/>
            </a:spcBef>
            <a:spcAft>
              <a:spcPct val="35000"/>
            </a:spcAft>
            <a:buNone/>
          </a:pPr>
          <a:r>
            <a:rPr lang="en-US" sz="2200" b="1" kern="1200"/>
            <a:t>Script block </a:t>
          </a:r>
          <a:r>
            <a:rPr lang="en-US" sz="2200" kern="1200"/>
            <a:t>validates incoming value</a:t>
          </a:r>
        </a:p>
      </dsp:txBody>
      <dsp:txXfrm>
        <a:off x="472603" y="716049"/>
        <a:ext cx="5077480" cy="358024"/>
      </dsp:txXfrm>
    </dsp:sp>
    <dsp:sp modelId="{9890F218-44E1-423B-A6C9-A89C6CBC1940}">
      <dsp:nvSpPr>
        <dsp:cNvPr id="0" name=""/>
        <dsp:cNvSpPr/>
      </dsp:nvSpPr>
      <dsp:spPr>
        <a:xfrm>
          <a:off x="248837" y="671296"/>
          <a:ext cx="447531" cy="44753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7FE5EC-8000-4951-BF34-5D3B1FB479AF}">
      <dsp:nvSpPr>
        <dsp:cNvPr id="0" name=""/>
        <dsp:cNvSpPr/>
      </dsp:nvSpPr>
      <dsp:spPr>
        <a:xfrm>
          <a:off x="472603" y="1253180"/>
          <a:ext cx="5077480" cy="35802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182"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Script uses </a:t>
          </a:r>
          <a:r>
            <a:rPr lang="en-US" sz="2200" b="1" kern="1200"/>
            <a:t>$_</a:t>
          </a:r>
          <a:r>
            <a:rPr lang="en-US" sz="2200" kern="1200"/>
            <a:t> for incoming value</a:t>
          </a:r>
        </a:p>
      </dsp:txBody>
      <dsp:txXfrm>
        <a:off x="472603" y="1253180"/>
        <a:ext cx="5077480" cy="358024"/>
      </dsp:txXfrm>
    </dsp:sp>
    <dsp:sp modelId="{184CA1E3-1E0D-44A0-A1A1-B3DBA87A8EBE}">
      <dsp:nvSpPr>
        <dsp:cNvPr id="0" name=""/>
        <dsp:cNvSpPr/>
      </dsp:nvSpPr>
      <dsp:spPr>
        <a:xfrm>
          <a:off x="248837" y="1208427"/>
          <a:ext cx="447531" cy="44753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2C8A6CF-3CF8-4BE4-A512-062494FFB3E7}">
      <dsp:nvSpPr>
        <dsp:cNvPr id="0" name=""/>
        <dsp:cNvSpPr/>
      </dsp:nvSpPr>
      <dsp:spPr>
        <a:xfrm>
          <a:off x="267339" y="1790310"/>
          <a:ext cx="5282744" cy="35802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182"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If result is </a:t>
          </a:r>
          <a:r>
            <a:rPr lang="en-US" sz="2200" b="1" kern="1200"/>
            <a:t>false</a:t>
          </a:r>
          <a:r>
            <a:rPr lang="en-US" sz="2200" kern="1200"/>
            <a:t>, an </a:t>
          </a:r>
          <a:r>
            <a:rPr lang="en-US" sz="2200" b="0" kern="1200"/>
            <a:t>error</a:t>
          </a:r>
          <a:r>
            <a:rPr lang="en-US" sz="2200" kern="1200"/>
            <a:t> is thrown</a:t>
          </a:r>
        </a:p>
      </dsp:txBody>
      <dsp:txXfrm>
        <a:off x="267339" y="1790310"/>
        <a:ext cx="5282744" cy="358024"/>
      </dsp:txXfrm>
    </dsp:sp>
    <dsp:sp modelId="{437BE103-7F1D-4DBF-B769-56929DBFB851}">
      <dsp:nvSpPr>
        <dsp:cNvPr id="0" name=""/>
        <dsp:cNvSpPr/>
      </dsp:nvSpPr>
      <dsp:spPr>
        <a:xfrm>
          <a:off x="43573" y="1745557"/>
          <a:ext cx="447531" cy="44753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34D910-82B0-4B49-B4FF-3E8B3FCC921E}">
      <dsp:nvSpPr>
        <dsp:cNvPr id="0" name=""/>
        <dsp:cNvSpPr/>
      </dsp:nvSpPr>
      <dsp:spPr>
        <a:xfrm>
          <a:off x="0" y="669"/>
          <a:ext cx="43891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0ED771-CB9D-4635-BBFD-07089361C9D6}">
      <dsp:nvSpPr>
        <dsp:cNvPr id="0" name=""/>
        <dsp:cNvSpPr/>
      </dsp:nvSpPr>
      <dsp:spPr>
        <a:xfrm>
          <a:off x="0" y="669"/>
          <a:ext cx="4389120" cy="1097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AllowNull</a:t>
          </a:r>
          <a:r>
            <a:rPr lang="en-AU" sz="2800" kern="1200"/>
            <a:t>()</a:t>
          </a:r>
          <a:endParaRPr lang="en-US" sz="2800" kern="1200"/>
        </a:p>
      </dsp:txBody>
      <dsp:txXfrm>
        <a:off x="0" y="669"/>
        <a:ext cx="4389120" cy="1097012"/>
      </dsp:txXfrm>
    </dsp:sp>
    <dsp:sp modelId="{1F202CC6-A0D7-457D-A06D-22BFBBFA886E}">
      <dsp:nvSpPr>
        <dsp:cNvPr id="0" name=""/>
        <dsp:cNvSpPr/>
      </dsp:nvSpPr>
      <dsp:spPr>
        <a:xfrm>
          <a:off x="0" y="1097681"/>
          <a:ext cx="43891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88495C-BE24-4A96-9D9C-D398B21D7EF8}">
      <dsp:nvSpPr>
        <dsp:cNvPr id="0" name=""/>
        <dsp:cNvSpPr/>
      </dsp:nvSpPr>
      <dsp:spPr>
        <a:xfrm>
          <a:off x="0" y="1097681"/>
          <a:ext cx="4389120" cy="1097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AllowEmptyString</a:t>
          </a:r>
          <a:r>
            <a:rPr lang="en-AU" sz="2800" kern="1200"/>
            <a:t>()</a:t>
          </a:r>
          <a:endParaRPr lang="en-US" sz="2800" kern="1200"/>
        </a:p>
      </dsp:txBody>
      <dsp:txXfrm>
        <a:off x="0" y="1097681"/>
        <a:ext cx="4389120" cy="1097012"/>
      </dsp:txXfrm>
    </dsp:sp>
    <dsp:sp modelId="{B73D4064-7AFE-40BA-AC18-86527978332B}">
      <dsp:nvSpPr>
        <dsp:cNvPr id="0" name=""/>
        <dsp:cNvSpPr/>
      </dsp:nvSpPr>
      <dsp:spPr>
        <a:xfrm>
          <a:off x="0" y="2194693"/>
          <a:ext cx="43891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985A8C-EEA8-4276-B212-FC919DFDE219}">
      <dsp:nvSpPr>
        <dsp:cNvPr id="0" name=""/>
        <dsp:cNvSpPr/>
      </dsp:nvSpPr>
      <dsp:spPr>
        <a:xfrm>
          <a:off x="0" y="2194693"/>
          <a:ext cx="4389120" cy="1097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AllowEmptyCollection</a:t>
          </a:r>
          <a:r>
            <a:rPr lang="en-AU" sz="2800" kern="1200"/>
            <a:t>()</a:t>
          </a:r>
          <a:endParaRPr lang="en-US" sz="2800" kern="1200"/>
        </a:p>
      </dsp:txBody>
      <dsp:txXfrm>
        <a:off x="0" y="2194693"/>
        <a:ext cx="4389120" cy="1097012"/>
      </dsp:txXfrm>
    </dsp:sp>
    <dsp:sp modelId="{6AACBD90-94C4-47BD-A1D5-C6A8391537CA}">
      <dsp:nvSpPr>
        <dsp:cNvPr id="0" name=""/>
        <dsp:cNvSpPr/>
      </dsp:nvSpPr>
      <dsp:spPr>
        <a:xfrm>
          <a:off x="0" y="3291706"/>
          <a:ext cx="43891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068326-E0C9-48A0-8ACB-70F26FAB5368}">
      <dsp:nvSpPr>
        <dsp:cNvPr id="0" name=""/>
        <dsp:cNvSpPr/>
      </dsp:nvSpPr>
      <dsp:spPr>
        <a:xfrm>
          <a:off x="0" y="3291706"/>
          <a:ext cx="4389120" cy="1097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NotNull</a:t>
          </a:r>
          <a:r>
            <a:rPr lang="en-AU" sz="2800" kern="1200"/>
            <a:t>()</a:t>
          </a:r>
          <a:endParaRPr lang="en-US" sz="2800" kern="1200"/>
        </a:p>
      </dsp:txBody>
      <dsp:txXfrm>
        <a:off x="0" y="3291706"/>
        <a:ext cx="4389120" cy="1097012"/>
      </dsp:txXfrm>
    </dsp:sp>
    <dsp:sp modelId="{73C364D5-1453-4C86-8C21-915745DA1173}">
      <dsp:nvSpPr>
        <dsp:cNvPr id="0" name=""/>
        <dsp:cNvSpPr/>
      </dsp:nvSpPr>
      <dsp:spPr>
        <a:xfrm>
          <a:off x="0" y="4388718"/>
          <a:ext cx="43891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29BA8D-4D98-4926-B322-05E00B02EA18}">
      <dsp:nvSpPr>
        <dsp:cNvPr id="0" name=""/>
        <dsp:cNvSpPr/>
      </dsp:nvSpPr>
      <dsp:spPr>
        <a:xfrm>
          <a:off x="0" y="4388718"/>
          <a:ext cx="4389120" cy="1097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AU" sz="2800" kern="1200" err="1"/>
            <a:t>ValidateNotNullOrEmpty</a:t>
          </a:r>
          <a:r>
            <a:rPr lang="en-AU" sz="2800" kern="1200"/>
            <a:t>()</a:t>
          </a:r>
          <a:endParaRPr lang="en-US" sz="2800" kern="1200"/>
        </a:p>
      </dsp:txBody>
      <dsp:txXfrm>
        <a:off x="0" y="4388718"/>
        <a:ext cx="4389120" cy="10970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78D84-92DF-46DB-B0C3-D876942BB858}">
      <dsp:nvSpPr>
        <dsp:cNvPr id="0" name=""/>
        <dsp:cNvSpPr/>
      </dsp:nvSpPr>
      <dsp:spPr>
        <a:xfrm>
          <a:off x="0" y="3700"/>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0EF4C7-FADB-477E-9482-0E13F8AC5DB1}">
      <dsp:nvSpPr>
        <dsp:cNvPr id="0" name=""/>
        <dsp:cNvSpPr/>
      </dsp:nvSpPr>
      <dsp:spPr>
        <a:xfrm>
          <a:off x="0" y="3700"/>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Mandatory</a:t>
          </a:r>
          <a:endParaRPr lang="en-US" sz="2400" kern="1200"/>
        </a:p>
      </dsp:txBody>
      <dsp:txXfrm>
        <a:off x="0" y="3700"/>
        <a:ext cx="5029199" cy="766167"/>
      </dsp:txXfrm>
    </dsp:sp>
    <dsp:sp modelId="{4F4F793B-FAFD-4F52-A9EE-9F360C8A4BB7}">
      <dsp:nvSpPr>
        <dsp:cNvPr id="0" name=""/>
        <dsp:cNvSpPr/>
      </dsp:nvSpPr>
      <dsp:spPr>
        <a:xfrm>
          <a:off x="0" y="769867"/>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E4E82D-A95E-49A1-91FD-DBDDCFA04CCE}">
      <dsp:nvSpPr>
        <dsp:cNvPr id="0" name=""/>
        <dsp:cNvSpPr/>
      </dsp:nvSpPr>
      <dsp:spPr>
        <a:xfrm>
          <a:off x="0" y="769867"/>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Position</a:t>
          </a:r>
          <a:endParaRPr lang="en-US" sz="2400" kern="1200"/>
        </a:p>
      </dsp:txBody>
      <dsp:txXfrm>
        <a:off x="0" y="769867"/>
        <a:ext cx="5029199" cy="766167"/>
      </dsp:txXfrm>
    </dsp:sp>
    <dsp:sp modelId="{91F8F41D-61BF-45D9-BB46-2578BFEA037C}">
      <dsp:nvSpPr>
        <dsp:cNvPr id="0" name=""/>
        <dsp:cNvSpPr/>
      </dsp:nvSpPr>
      <dsp:spPr>
        <a:xfrm>
          <a:off x="0" y="1536034"/>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6CD83D-6C25-4B2C-8809-58CB6FCDA2B6}">
      <dsp:nvSpPr>
        <dsp:cNvPr id="0" name=""/>
        <dsp:cNvSpPr/>
      </dsp:nvSpPr>
      <dsp:spPr>
        <a:xfrm>
          <a:off x="0" y="1536034"/>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err="1"/>
            <a:t>ParameterSetName</a:t>
          </a:r>
          <a:endParaRPr lang="en-US" sz="2400" kern="1200"/>
        </a:p>
      </dsp:txBody>
      <dsp:txXfrm>
        <a:off x="0" y="1536034"/>
        <a:ext cx="5029199" cy="766167"/>
      </dsp:txXfrm>
    </dsp:sp>
    <dsp:sp modelId="{878A32F9-493E-42FB-BEA3-B4F573981868}">
      <dsp:nvSpPr>
        <dsp:cNvPr id="0" name=""/>
        <dsp:cNvSpPr/>
      </dsp:nvSpPr>
      <dsp:spPr>
        <a:xfrm>
          <a:off x="0" y="2302201"/>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D56F06-2101-4F5E-B69F-01973099B24A}">
      <dsp:nvSpPr>
        <dsp:cNvPr id="0" name=""/>
        <dsp:cNvSpPr/>
      </dsp:nvSpPr>
      <dsp:spPr>
        <a:xfrm>
          <a:off x="0" y="2302201"/>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err="1"/>
            <a:t>ValueFromPipeline</a:t>
          </a:r>
          <a:endParaRPr lang="en-US" sz="2400" kern="1200"/>
        </a:p>
      </dsp:txBody>
      <dsp:txXfrm>
        <a:off x="0" y="2302201"/>
        <a:ext cx="5029199" cy="766167"/>
      </dsp:txXfrm>
    </dsp:sp>
    <dsp:sp modelId="{CA42F884-62DB-4783-8C3C-C9362DBA74D0}">
      <dsp:nvSpPr>
        <dsp:cNvPr id="0" name=""/>
        <dsp:cNvSpPr/>
      </dsp:nvSpPr>
      <dsp:spPr>
        <a:xfrm>
          <a:off x="0" y="3068369"/>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0F0CB9-15CC-47C1-AA9A-0CD3AA9A6C11}">
      <dsp:nvSpPr>
        <dsp:cNvPr id="0" name=""/>
        <dsp:cNvSpPr/>
      </dsp:nvSpPr>
      <dsp:spPr>
        <a:xfrm>
          <a:off x="0" y="3068369"/>
          <a:ext cx="5024288" cy="881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err="1"/>
            <a:t>ValueFromPipelineByPropertyName</a:t>
          </a:r>
          <a:endParaRPr lang="en-US" sz="2400" kern="1200"/>
        </a:p>
      </dsp:txBody>
      <dsp:txXfrm>
        <a:off x="0" y="3068369"/>
        <a:ext cx="5024288" cy="881996"/>
      </dsp:txXfrm>
    </dsp:sp>
    <dsp:sp modelId="{BB2758C6-AAFC-48BC-ADC9-DFB905A2A27C}">
      <dsp:nvSpPr>
        <dsp:cNvPr id="0" name=""/>
        <dsp:cNvSpPr/>
      </dsp:nvSpPr>
      <dsp:spPr>
        <a:xfrm>
          <a:off x="0" y="3950365"/>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476096-4315-4618-8129-7116188C168A}">
      <dsp:nvSpPr>
        <dsp:cNvPr id="0" name=""/>
        <dsp:cNvSpPr/>
      </dsp:nvSpPr>
      <dsp:spPr>
        <a:xfrm>
          <a:off x="0" y="3950365"/>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err="1"/>
            <a:t>ValueFromRemainingArguments</a:t>
          </a:r>
          <a:r>
            <a:rPr lang="en-US" sz="2400" kern="1200" baseline="0"/>
            <a:t> </a:t>
          </a:r>
          <a:endParaRPr lang="en-US" sz="2400" kern="1200"/>
        </a:p>
      </dsp:txBody>
      <dsp:txXfrm>
        <a:off x="0" y="3950365"/>
        <a:ext cx="5029199" cy="766167"/>
      </dsp:txXfrm>
    </dsp:sp>
    <dsp:sp modelId="{4C6AF974-FDF8-470B-A827-7EFA1B8081AB}">
      <dsp:nvSpPr>
        <dsp:cNvPr id="0" name=""/>
        <dsp:cNvSpPr/>
      </dsp:nvSpPr>
      <dsp:spPr>
        <a:xfrm>
          <a:off x="0" y="4716532"/>
          <a:ext cx="502919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1AC3A9-C57E-4138-94DF-229D2107DE07}">
      <dsp:nvSpPr>
        <dsp:cNvPr id="0" name=""/>
        <dsp:cNvSpPr/>
      </dsp:nvSpPr>
      <dsp:spPr>
        <a:xfrm>
          <a:off x="0" y="4716532"/>
          <a:ext cx="5029199" cy="76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err="1"/>
            <a:t>HelpMessage</a:t>
          </a:r>
          <a:endParaRPr lang="en-US" sz="2400" kern="1200"/>
        </a:p>
      </dsp:txBody>
      <dsp:txXfrm>
        <a:off x="0" y="4716532"/>
        <a:ext cx="5029199" cy="76616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FD9AD6-6B16-4EF1-BFAE-0E143B27A841}">
      <dsp:nvSpPr>
        <dsp:cNvPr id="0" name=""/>
        <dsp:cNvSpPr/>
      </dsp:nvSpPr>
      <dsp:spPr>
        <a:xfrm>
          <a:off x="0" y="0"/>
          <a:ext cx="6583680" cy="2394272"/>
        </a:xfrm>
        <a:prstGeom prst="roundRect">
          <a:avLst>
            <a:gd name="adj" fmla="val 10000"/>
          </a:avLst>
        </a:prstGeom>
        <a:solidFill>
          <a:schemeClr val="accent4">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u="none" kern="1200"/>
            <a:t>Allow</a:t>
          </a:r>
          <a:endParaRPr lang="en-US" sz="2800" u="sng" kern="1200"/>
        </a:p>
        <a:p>
          <a:pPr marL="0" lvl="1" indent="-285750" algn="l" defTabSz="1244600">
            <a:lnSpc>
              <a:spcPct val="90000"/>
            </a:lnSpc>
            <a:spcBef>
              <a:spcPct val="0"/>
            </a:spcBef>
            <a:spcAft>
              <a:spcPct val="15000"/>
            </a:spcAft>
            <a:buNone/>
          </a:pPr>
          <a:r>
            <a:rPr lang="en-US" sz="2800" kern="1200"/>
            <a:t>Allows </a:t>
          </a:r>
          <a:r>
            <a:rPr lang="en-US" sz="2800" b="1" kern="1200"/>
            <a:t>mandatory</a:t>
          </a:r>
          <a:r>
            <a:rPr lang="en-US" sz="2800" kern="1200"/>
            <a:t> parameters to be null or empty. </a:t>
          </a:r>
        </a:p>
      </dsp:txBody>
      <dsp:txXfrm>
        <a:off x="1556163" y="0"/>
        <a:ext cx="5027516" cy="2394272"/>
      </dsp:txXfrm>
    </dsp:sp>
    <dsp:sp modelId="{932957C8-6A13-4B60-A722-9807020907D0}">
      <dsp:nvSpPr>
        <dsp:cNvPr id="0" name=""/>
        <dsp:cNvSpPr/>
      </dsp:nvSpPr>
      <dsp:spPr>
        <a:xfrm>
          <a:off x="239427" y="239427"/>
          <a:ext cx="1316736" cy="1915417"/>
        </a:xfrm>
        <a:prstGeom prst="roundRect">
          <a:avLst>
            <a:gd name="adj" fmla="val 10000"/>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t="17452" b="1745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7026A60-2B4D-4485-8719-6C6E9D0B74B5}">
      <dsp:nvSpPr>
        <dsp:cNvPr id="0" name=""/>
        <dsp:cNvSpPr/>
      </dsp:nvSpPr>
      <dsp:spPr>
        <a:xfrm>
          <a:off x="0" y="2633699"/>
          <a:ext cx="6583680" cy="2394272"/>
        </a:xfrm>
        <a:prstGeom prst="roundRect">
          <a:avLst>
            <a:gd name="adj" fmla="val 10000"/>
          </a:avLst>
        </a:prstGeom>
        <a:solidFill>
          <a:srgbClr val="94323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u="none" kern="1200" err="1"/>
            <a:t>ValidateNot</a:t>
          </a:r>
          <a:endParaRPr lang="en-US" sz="2800" u="sng" kern="1200"/>
        </a:p>
        <a:p>
          <a:pPr marL="0" lvl="1" indent="-285750" algn="l" defTabSz="1244600">
            <a:lnSpc>
              <a:spcPct val="90000"/>
            </a:lnSpc>
            <a:spcBef>
              <a:spcPct val="0"/>
            </a:spcBef>
            <a:spcAft>
              <a:spcPct val="15000"/>
            </a:spcAft>
            <a:buNone/>
          </a:pPr>
          <a:r>
            <a:rPr lang="en-US" sz="2800" kern="1200"/>
            <a:t>Designed to force un-typed </a:t>
          </a:r>
          <a:r>
            <a:rPr lang="en-US" sz="2800" b="1" kern="1200"/>
            <a:t>optional</a:t>
          </a:r>
          <a:r>
            <a:rPr lang="en-US" sz="2800" kern="1200"/>
            <a:t> parameters to have a value if used. </a:t>
          </a:r>
        </a:p>
      </dsp:txBody>
      <dsp:txXfrm>
        <a:off x="1556163" y="2633699"/>
        <a:ext cx="5027516" cy="2394272"/>
      </dsp:txXfrm>
    </dsp:sp>
    <dsp:sp modelId="{57E7FCF7-86C9-4343-8FB2-CFB44779AEED}">
      <dsp:nvSpPr>
        <dsp:cNvPr id="0" name=""/>
        <dsp:cNvSpPr/>
      </dsp:nvSpPr>
      <dsp:spPr>
        <a:xfrm>
          <a:off x="239427" y="2873126"/>
          <a:ext cx="1316736" cy="1915417"/>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7452" b="1745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B6192-372C-425D-8A25-01E2FF390F73}">
      <dsp:nvSpPr>
        <dsp:cNvPr id="0" name=""/>
        <dsp:cNvSpPr/>
      </dsp:nvSpPr>
      <dsp:spPr>
        <a:xfrm>
          <a:off x="0" y="0"/>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2D2757-0AB5-41B1-B080-9DECCA5E134C}">
      <dsp:nvSpPr>
        <dsp:cNvPr id="0" name=""/>
        <dsp:cNvSpPr/>
      </dsp:nvSpPr>
      <dsp:spPr>
        <a:xfrm>
          <a:off x="0" y="0"/>
          <a:ext cx="45720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By default, all parameters are </a:t>
          </a:r>
          <a:r>
            <a:rPr lang="en-US" sz="2400" b="1" kern="1200"/>
            <a:t>optional</a:t>
          </a:r>
          <a:r>
            <a:rPr lang="en-US" sz="2400" kern="1200"/>
            <a:t> </a:t>
          </a:r>
        </a:p>
      </dsp:txBody>
      <dsp:txXfrm>
        <a:off x="0" y="0"/>
        <a:ext cx="4572000" cy="1371599"/>
      </dsp:txXfrm>
    </dsp:sp>
    <dsp:sp modelId="{099CCE5E-12E0-46DE-A626-537C85AA88BC}">
      <dsp:nvSpPr>
        <dsp:cNvPr id="0" name=""/>
        <dsp:cNvSpPr/>
      </dsp:nvSpPr>
      <dsp:spPr>
        <a:xfrm>
          <a:off x="0" y="1371599"/>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5E9951-39AC-405F-B1A3-DFCE05B786AF}">
      <dsp:nvSpPr>
        <dsp:cNvPr id="0" name=""/>
        <dsp:cNvSpPr/>
      </dsp:nvSpPr>
      <dsp:spPr>
        <a:xfrm>
          <a:off x="0" y="1371599"/>
          <a:ext cx="45720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Prompts</a:t>
          </a:r>
          <a:r>
            <a:rPr lang="en-US" sz="2400" kern="1200"/>
            <a:t> user for missing values on command line</a:t>
          </a:r>
        </a:p>
      </dsp:txBody>
      <dsp:txXfrm>
        <a:off x="0" y="1371599"/>
        <a:ext cx="4572000" cy="1371599"/>
      </dsp:txXfrm>
    </dsp:sp>
    <dsp:sp modelId="{B571A0A7-6F57-47CB-9FA4-CF86E6AAA55D}">
      <dsp:nvSpPr>
        <dsp:cNvPr id="0" name=""/>
        <dsp:cNvSpPr/>
      </dsp:nvSpPr>
      <dsp:spPr>
        <a:xfrm>
          <a:off x="0" y="2743199"/>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B07E4D-70EB-422E-9F36-108F0DDDA9DB}">
      <dsp:nvSpPr>
        <dsp:cNvPr id="0" name=""/>
        <dsp:cNvSpPr/>
      </dsp:nvSpPr>
      <dsp:spPr>
        <a:xfrm>
          <a:off x="0" y="2743199"/>
          <a:ext cx="45720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Optional </a:t>
          </a:r>
          <a:r>
            <a:rPr lang="en-US" sz="2400" b="1" kern="1200" err="1"/>
            <a:t>HelpMessage</a:t>
          </a:r>
          <a:r>
            <a:rPr lang="en-US" sz="2400" kern="1200"/>
            <a:t> to provide additional information</a:t>
          </a:r>
        </a:p>
      </dsp:txBody>
      <dsp:txXfrm>
        <a:off x="0" y="2743199"/>
        <a:ext cx="4572000" cy="1371599"/>
      </dsp:txXfrm>
    </dsp:sp>
    <dsp:sp modelId="{268F469A-09F3-4EA6-9F79-6B6BCFC7261F}">
      <dsp:nvSpPr>
        <dsp:cNvPr id="0" name=""/>
        <dsp:cNvSpPr/>
      </dsp:nvSpPr>
      <dsp:spPr>
        <a:xfrm>
          <a:off x="0" y="4114799"/>
          <a:ext cx="45720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8E9FA5-685E-4399-BF10-587C4B3EBB0F}">
      <dsp:nvSpPr>
        <dsp:cNvPr id="0" name=""/>
        <dsp:cNvSpPr/>
      </dsp:nvSpPr>
      <dsp:spPr>
        <a:xfrm>
          <a:off x="0" y="4114799"/>
          <a:ext cx="4572000" cy="1371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HelpMessage</a:t>
          </a:r>
          <a:r>
            <a:rPr lang="en-US" sz="2400" kern="1200"/>
            <a:t> does </a:t>
          </a:r>
          <a:r>
            <a:rPr lang="en-US" sz="2400" b="1" kern="1200"/>
            <a:t>not</a:t>
          </a:r>
          <a:r>
            <a:rPr lang="en-US" sz="2400" kern="1200"/>
            <a:t> get reflected in Get-Help info</a:t>
          </a:r>
        </a:p>
      </dsp:txBody>
      <dsp:txXfrm>
        <a:off x="0" y="4114799"/>
        <a:ext cx="4572000" cy="13715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B6192-372C-425D-8A25-01E2FF390F73}">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2D2757-0AB5-41B1-B080-9DECCA5E134C}">
      <dsp:nvSpPr>
        <dsp:cNvPr id="0" name=""/>
        <dsp:cNvSpPr/>
      </dsp:nvSpPr>
      <dsp:spPr>
        <a:xfrm>
          <a:off x="0" y="0"/>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By default, </a:t>
          </a:r>
          <a:r>
            <a:rPr lang="en-US" sz="2200" b="1" kern="1200"/>
            <a:t>all</a:t>
          </a:r>
          <a:r>
            <a:rPr lang="en-US" sz="2200" kern="1200"/>
            <a:t> parameters are positional in the order they are defined</a:t>
          </a:r>
        </a:p>
      </dsp:txBody>
      <dsp:txXfrm>
        <a:off x="0" y="0"/>
        <a:ext cx="10972800" cy="685799"/>
      </dsp:txXfrm>
    </dsp:sp>
    <dsp:sp modelId="{F5360AEB-4B5F-47BF-B029-51C220DAA508}">
      <dsp:nvSpPr>
        <dsp:cNvPr id="0" name=""/>
        <dsp:cNvSpPr/>
      </dsp:nvSpPr>
      <dsp:spPr>
        <a:xfrm>
          <a:off x="0" y="685799"/>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55CD04-8F54-4C64-A7A4-3BDD709E8F97}">
      <dsp:nvSpPr>
        <dsp:cNvPr id="0" name=""/>
        <dsp:cNvSpPr/>
      </dsp:nvSpPr>
      <dsp:spPr>
        <a:xfrm>
          <a:off x="0" y="6857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a:t>Disables</a:t>
          </a:r>
          <a:r>
            <a:rPr lang="en-US" sz="2200" kern="1200"/>
            <a:t> positional binding on non-specified parameters</a:t>
          </a:r>
        </a:p>
      </dsp:txBody>
      <dsp:txXfrm>
        <a:off x="0" y="685799"/>
        <a:ext cx="10972800" cy="685799"/>
      </dsp:txXfrm>
    </dsp:sp>
    <dsp:sp modelId="{8EFFA1F9-B393-48B9-96E3-5333A127D972}">
      <dsp:nvSpPr>
        <dsp:cNvPr id="0" name=""/>
        <dsp:cNvSpPr/>
      </dsp:nvSpPr>
      <dsp:spPr>
        <a:xfrm>
          <a:off x="0" y="1371599"/>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FE27E1-8355-49FE-B708-4D4A85BE43C5}">
      <dsp:nvSpPr>
        <dsp:cNvPr id="0" name=""/>
        <dsp:cNvSpPr/>
      </dsp:nvSpPr>
      <dsp:spPr>
        <a:xfrm>
          <a:off x="0" y="13715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Required to leverage positional binding with </a:t>
          </a:r>
          <a:r>
            <a:rPr lang="en-US" sz="2200" b="1" kern="1200"/>
            <a:t>parameter sets</a:t>
          </a:r>
        </a:p>
      </dsp:txBody>
      <dsp:txXfrm>
        <a:off x="0" y="1371599"/>
        <a:ext cx="10972800" cy="685799"/>
      </dsp:txXfrm>
    </dsp:sp>
    <dsp:sp modelId="{20FDD5E9-ED9E-4382-9C81-A2A3D1BE0B87}">
      <dsp:nvSpPr>
        <dsp:cNvPr id="0" name=""/>
        <dsp:cNvSpPr/>
      </dsp:nvSpPr>
      <dsp:spPr>
        <a:xfrm>
          <a:off x="0" y="2057399"/>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CD09B9-5F5B-4202-874A-B9317A550B62}">
      <dsp:nvSpPr>
        <dsp:cNvPr id="0" name=""/>
        <dsp:cNvSpPr/>
      </dsp:nvSpPr>
      <dsp:spPr>
        <a:xfrm>
          <a:off x="0" y="20573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t>Positional Binding can be </a:t>
          </a:r>
          <a:r>
            <a:rPr lang="en-US" sz="2200" b="1" kern="1200"/>
            <a:t>disabled</a:t>
          </a:r>
          <a:r>
            <a:rPr lang="en-US" sz="2200" kern="1200"/>
            <a:t> with the </a:t>
          </a:r>
          <a:r>
            <a:rPr lang="en-US" sz="2200" kern="1200" err="1"/>
            <a:t>CmdletBinding</a:t>
          </a:r>
          <a:r>
            <a:rPr lang="en-US" sz="2200" kern="1200"/>
            <a:t> attribute</a:t>
          </a:r>
        </a:p>
      </dsp:txBody>
      <dsp:txXfrm>
        <a:off x="0" y="2057399"/>
        <a:ext cx="10972800" cy="6857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C8235C-70CE-4CEB-8BE4-6CC0BBE11C50}">
      <dsp:nvSpPr>
        <dsp:cNvPr id="0" name=""/>
        <dsp:cNvSpPr/>
      </dsp:nvSpPr>
      <dsp:spPr>
        <a:xfrm>
          <a:off x="0" y="2678"/>
          <a:ext cx="3749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C454DE-0F92-46C4-B8D1-042CD7DBB52E}">
      <dsp:nvSpPr>
        <dsp:cNvPr id="0" name=""/>
        <dsp:cNvSpPr/>
      </dsp:nvSpPr>
      <dsp:spPr>
        <a:xfrm>
          <a:off x="0" y="2678"/>
          <a:ext cx="3749040" cy="1827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Specifies</a:t>
          </a:r>
          <a:r>
            <a:rPr lang="en-US" sz="2600" kern="1200"/>
            <a:t> the parameter set the parameter belongs to</a:t>
          </a:r>
        </a:p>
      </dsp:txBody>
      <dsp:txXfrm>
        <a:off x="0" y="2678"/>
        <a:ext cx="3749040" cy="1827014"/>
      </dsp:txXfrm>
    </dsp:sp>
    <dsp:sp modelId="{D90228C4-3832-4A98-B1E4-B2EED7FECC07}">
      <dsp:nvSpPr>
        <dsp:cNvPr id="0" name=""/>
        <dsp:cNvSpPr/>
      </dsp:nvSpPr>
      <dsp:spPr>
        <a:xfrm>
          <a:off x="0" y="1829692"/>
          <a:ext cx="3749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734965-96F0-4151-8E8E-D9887DC7BF1D}">
      <dsp:nvSpPr>
        <dsp:cNvPr id="0" name=""/>
        <dsp:cNvSpPr/>
      </dsp:nvSpPr>
      <dsp:spPr>
        <a:xfrm>
          <a:off x="0" y="1829692"/>
          <a:ext cx="3749040" cy="1827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Parameter sets </a:t>
          </a:r>
          <a:r>
            <a:rPr lang="en-US" sz="2600" b="1" kern="1200"/>
            <a:t>must</a:t>
          </a:r>
          <a:r>
            <a:rPr lang="en-US" sz="2600" kern="1200"/>
            <a:t> have at least one </a:t>
          </a:r>
          <a:r>
            <a:rPr lang="en-US" sz="2600" b="1" kern="1200"/>
            <a:t>unique</a:t>
          </a:r>
          <a:r>
            <a:rPr lang="en-US" sz="2600" kern="1200"/>
            <a:t> parameter</a:t>
          </a:r>
        </a:p>
      </dsp:txBody>
      <dsp:txXfrm>
        <a:off x="0" y="1829692"/>
        <a:ext cx="3749040" cy="1827014"/>
      </dsp:txXfrm>
    </dsp:sp>
    <dsp:sp modelId="{157ABFB7-D410-4F50-814F-D85703AB9D34}">
      <dsp:nvSpPr>
        <dsp:cNvPr id="0" name=""/>
        <dsp:cNvSpPr/>
      </dsp:nvSpPr>
      <dsp:spPr>
        <a:xfrm>
          <a:off x="0" y="3656707"/>
          <a:ext cx="374904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4379A9-2FFE-4688-B999-6F443EEA69AD}">
      <dsp:nvSpPr>
        <dsp:cNvPr id="0" name=""/>
        <dsp:cNvSpPr/>
      </dsp:nvSpPr>
      <dsp:spPr>
        <a:xfrm>
          <a:off x="0" y="3656707"/>
          <a:ext cx="3749040" cy="1827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A parameter belongs to </a:t>
          </a:r>
          <a:r>
            <a:rPr lang="en-US" sz="2600" b="1" kern="1200"/>
            <a:t>all</a:t>
          </a:r>
          <a:r>
            <a:rPr lang="en-US" sz="2600" kern="1200"/>
            <a:t> parameter sets if not specified</a:t>
          </a:r>
        </a:p>
      </dsp:txBody>
      <dsp:txXfrm>
        <a:off x="0" y="3656707"/>
        <a:ext cx="3749040" cy="182701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1DB7E-14A2-4EA2-A290-2023AF3E3B0A}">
      <dsp:nvSpPr>
        <dsp:cNvPr id="0" name=""/>
        <dsp:cNvSpPr/>
      </dsp:nvSpPr>
      <dsp:spPr>
        <a:xfrm>
          <a:off x="1193649" y="2088"/>
          <a:ext cx="4270412" cy="1010605"/>
        </a:xfrm>
        <a:prstGeom prst="rect">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he pipeline object </a:t>
          </a:r>
          <a:r>
            <a:rPr lang="en-US" sz="2000" b="1" kern="1200"/>
            <a:t>binds</a:t>
          </a:r>
          <a:r>
            <a:rPr lang="en-US" sz="2000" kern="1200"/>
            <a:t> to the parameter value</a:t>
          </a:r>
        </a:p>
      </dsp:txBody>
      <dsp:txXfrm>
        <a:off x="1193649" y="2088"/>
        <a:ext cx="4270412" cy="1010605"/>
      </dsp:txXfrm>
    </dsp:sp>
    <dsp:sp modelId="{C543BBA2-EBC4-4647-B74F-50E64C4EB354}">
      <dsp:nvSpPr>
        <dsp:cNvPr id="0" name=""/>
        <dsp:cNvSpPr/>
      </dsp:nvSpPr>
      <dsp:spPr>
        <a:xfrm>
          <a:off x="92639" y="2088"/>
          <a:ext cx="1000499" cy="101060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73D1FB-F6C4-4848-BA65-59DD89E60C94}">
      <dsp:nvSpPr>
        <dsp:cNvPr id="0" name=""/>
        <dsp:cNvSpPr/>
      </dsp:nvSpPr>
      <dsp:spPr>
        <a:xfrm>
          <a:off x="87647" y="1179444"/>
          <a:ext cx="4270412" cy="1010605"/>
        </a:xfrm>
        <a:prstGeom prst="rect">
          <a:avLst/>
        </a:prstGeom>
        <a:solidFill>
          <a:schemeClr val="accent2">
            <a:hueOff val="-3015768"/>
            <a:satOff val="13618"/>
            <a:lumOff val="4264"/>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Object on the pipeline is </a:t>
          </a:r>
          <a:r>
            <a:rPr lang="en-US" sz="2000" b="1" kern="1200"/>
            <a:t>converted</a:t>
          </a:r>
          <a:r>
            <a:rPr lang="en-US" sz="2000" kern="1200"/>
            <a:t> to match the parameter type(s)</a:t>
          </a:r>
        </a:p>
      </dsp:txBody>
      <dsp:txXfrm>
        <a:off x="87647" y="1179444"/>
        <a:ext cx="4270412" cy="1010605"/>
      </dsp:txXfrm>
    </dsp:sp>
    <dsp:sp modelId="{A0A5F7DE-8DCC-4CE9-B884-2B8C93142C59}">
      <dsp:nvSpPr>
        <dsp:cNvPr id="0" name=""/>
        <dsp:cNvSpPr/>
      </dsp:nvSpPr>
      <dsp:spPr>
        <a:xfrm>
          <a:off x="4463562" y="1179444"/>
          <a:ext cx="1000499" cy="10106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4DBD63-AA12-43FD-80CD-A0D212C1AEC2}">
      <dsp:nvSpPr>
        <dsp:cNvPr id="0" name=""/>
        <dsp:cNvSpPr/>
      </dsp:nvSpPr>
      <dsp:spPr>
        <a:xfrm>
          <a:off x="1193649" y="2356800"/>
          <a:ext cx="4270412" cy="1010605"/>
        </a:xfrm>
        <a:prstGeom prst="rect">
          <a:avLst/>
        </a:prstGeom>
        <a:solidFill>
          <a:srgbClr val="054B16"/>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t>Any</a:t>
          </a:r>
          <a:r>
            <a:rPr lang="en-US" sz="2000" kern="1200"/>
            <a:t> parameter with this attribute can get a copy of the value</a:t>
          </a:r>
        </a:p>
      </dsp:txBody>
      <dsp:txXfrm>
        <a:off x="1193649" y="2356800"/>
        <a:ext cx="4270412" cy="1010605"/>
      </dsp:txXfrm>
    </dsp:sp>
    <dsp:sp modelId="{4116007A-A8E0-4B73-B1C3-5474D2F594ED}">
      <dsp:nvSpPr>
        <dsp:cNvPr id="0" name=""/>
        <dsp:cNvSpPr/>
      </dsp:nvSpPr>
      <dsp:spPr>
        <a:xfrm>
          <a:off x="92629" y="2356800"/>
          <a:ext cx="1000499" cy="101060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9BC5AD-2DF3-481D-9E43-B27785B195D5}">
      <dsp:nvSpPr>
        <dsp:cNvPr id="0" name=""/>
        <dsp:cNvSpPr/>
      </dsp:nvSpPr>
      <dsp:spPr>
        <a:xfrm>
          <a:off x="87647" y="3534155"/>
          <a:ext cx="4270412" cy="1010605"/>
        </a:xfrm>
        <a:prstGeom prst="rect">
          <a:avLst/>
        </a:prstGeom>
        <a:solidFill>
          <a:srgbClr val="5C005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est practice is to only use on </a:t>
          </a:r>
          <a:r>
            <a:rPr lang="en-US" sz="2000" b="1" kern="1200"/>
            <a:t>one</a:t>
          </a:r>
          <a:r>
            <a:rPr lang="en-US" sz="2000" kern="1200"/>
            <a:t> parameter per set</a:t>
          </a:r>
        </a:p>
      </dsp:txBody>
      <dsp:txXfrm>
        <a:off x="87647" y="3534155"/>
        <a:ext cx="4270412" cy="1010605"/>
      </dsp:txXfrm>
    </dsp:sp>
    <dsp:sp modelId="{6166C587-0A32-4993-BF17-08AB39861103}">
      <dsp:nvSpPr>
        <dsp:cNvPr id="0" name=""/>
        <dsp:cNvSpPr/>
      </dsp:nvSpPr>
      <dsp:spPr>
        <a:xfrm>
          <a:off x="4463562" y="3534155"/>
          <a:ext cx="1000499" cy="101060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40A4D7-CCCA-4970-ACBE-5088AFF0FF87}">
      <dsp:nvSpPr>
        <dsp:cNvPr id="0" name=""/>
        <dsp:cNvSpPr/>
      </dsp:nvSpPr>
      <dsp:spPr>
        <a:xfrm>
          <a:off x="1193649" y="4711511"/>
          <a:ext cx="4270412" cy="1010605"/>
        </a:xfrm>
        <a:prstGeom prst="rect">
          <a:avLst/>
        </a:prstGeom>
        <a:solidFill>
          <a:schemeClr val="accent5">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se </a:t>
          </a:r>
          <a:r>
            <a:rPr lang="en-US" sz="2000" b="1" kern="1200"/>
            <a:t>process{} </a:t>
          </a:r>
          <a:r>
            <a:rPr lang="en-US" sz="2000" kern="1200"/>
            <a:t>block for multiple pipeline objects</a:t>
          </a:r>
        </a:p>
      </dsp:txBody>
      <dsp:txXfrm>
        <a:off x="1193649" y="4711511"/>
        <a:ext cx="4270412" cy="1010605"/>
      </dsp:txXfrm>
    </dsp:sp>
    <dsp:sp modelId="{6C3CB78B-23D5-4347-99F5-BC61610DACAB}">
      <dsp:nvSpPr>
        <dsp:cNvPr id="0" name=""/>
        <dsp:cNvSpPr/>
      </dsp:nvSpPr>
      <dsp:spPr>
        <a:xfrm>
          <a:off x="92629" y="4711511"/>
          <a:ext cx="1000499" cy="101060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2F39BF-ABC1-45B4-9EBE-4279CAF97C3B}">
      <dsp:nvSpPr>
        <dsp:cNvPr id="0" name=""/>
        <dsp:cNvSpPr/>
      </dsp:nvSpPr>
      <dsp:spPr>
        <a:xfrm>
          <a:off x="0" y="10219"/>
          <a:ext cx="11247120" cy="67392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a:t>Accepts input from a </a:t>
          </a:r>
          <a:r>
            <a:rPr lang="en-US" sz="2300" b="0" kern="1200" baseline="0"/>
            <a:t>property</a:t>
          </a:r>
          <a:r>
            <a:rPr lang="en-US" sz="2300" kern="1200" baseline="0"/>
            <a:t> of a pipeline object that </a:t>
          </a:r>
          <a:r>
            <a:rPr lang="en-US" sz="2300" b="0" kern="1200" baseline="0"/>
            <a:t>matches</a:t>
          </a:r>
          <a:r>
            <a:rPr lang="en-US" sz="2300" kern="1200" baseline="0"/>
            <a:t> the parameter </a:t>
          </a:r>
          <a:r>
            <a:rPr lang="en-US" sz="2300" b="1" kern="1200" baseline="0"/>
            <a:t>name</a:t>
          </a:r>
          <a:endParaRPr lang="en-US" sz="2300" b="1" kern="1200"/>
        </a:p>
      </dsp:txBody>
      <dsp:txXfrm>
        <a:off x="32898" y="43117"/>
        <a:ext cx="11181324" cy="608124"/>
      </dsp:txXfrm>
    </dsp:sp>
    <dsp:sp modelId="{E5B5183C-0CFC-4E99-846C-7A8526457142}">
      <dsp:nvSpPr>
        <dsp:cNvPr id="0" name=""/>
        <dsp:cNvSpPr/>
      </dsp:nvSpPr>
      <dsp:spPr>
        <a:xfrm>
          <a:off x="0" y="798040"/>
          <a:ext cx="11247120" cy="67392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a:t>Error thrown if </a:t>
          </a:r>
          <a:r>
            <a:rPr lang="en-US" sz="2300" b="1" kern="1200" baseline="0"/>
            <a:t>no</a:t>
          </a:r>
          <a:r>
            <a:rPr lang="en-US" sz="2300" kern="1200" baseline="0"/>
            <a:t> parameters can be bound</a:t>
          </a:r>
          <a:endParaRPr lang="en-US" sz="2300" kern="1200"/>
        </a:p>
      </dsp:txBody>
      <dsp:txXfrm>
        <a:off x="32898" y="830938"/>
        <a:ext cx="11181324" cy="60812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7CF7A6-76BB-419F-BCBF-6C69CA0BF90C}">
      <dsp:nvSpPr>
        <dsp:cNvPr id="0" name=""/>
        <dsp:cNvSpPr/>
      </dsp:nvSpPr>
      <dsp:spPr>
        <a:xfrm rot="16200000">
          <a:off x="553908" y="-552569"/>
          <a:ext cx="2377440" cy="3482578"/>
        </a:xfrm>
        <a:prstGeom prst="flowChartManualOperati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None/>
          </a:pPr>
          <a:r>
            <a:rPr lang="en-AU" sz="2400" kern="1200"/>
            <a:t>Defines an alias for a </a:t>
          </a:r>
          <a:r>
            <a:rPr lang="en-AU" sz="2400" b="1" kern="1200"/>
            <a:t>function</a:t>
          </a:r>
          <a:r>
            <a:rPr lang="en-AU" sz="2400" kern="1200"/>
            <a:t> or </a:t>
          </a:r>
          <a:r>
            <a:rPr lang="en-AU" sz="2400" b="1" kern="1200"/>
            <a:t>parameter</a:t>
          </a:r>
          <a:endParaRPr lang="en-US" sz="2400" b="1" kern="1200"/>
        </a:p>
      </dsp:txBody>
      <dsp:txXfrm rot="5400000">
        <a:off x="1339" y="475488"/>
        <a:ext cx="3482578" cy="1426464"/>
      </dsp:txXfrm>
    </dsp:sp>
    <dsp:sp modelId="{8407AF40-27F5-4146-9BE0-133AC5584A3E}">
      <dsp:nvSpPr>
        <dsp:cNvPr id="0" name=""/>
        <dsp:cNvSpPr/>
      </dsp:nvSpPr>
      <dsp:spPr>
        <a:xfrm rot="16200000">
          <a:off x="4297680" y="-552569"/>
          <a:ext cx="2377440" cy="3482578"/>
        </a:xfrm>
        <a:prstGeom prst="flowChartManualOperation">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None/>
          </a:pPr>
          <a:r>
            <a:rPr lang="en-US" sz="2400" kern="1200"/>
            <a:t>Aliases can be recognized by </a:t>
          </a:r>
          <a:r>
            <a:rPr lang="en-US" sz="2400" b="1" kern="1200" err="1"/>
            <a:t>ValueFromPipelineByPropertyName</a:t>
          </a:r>
          <a:endParaRPr lang="en-US" sz="2400" b="1" kern="1200"/>
        </a:p>
      </dsp:txBody>
      <dsp:txXfrm rot="5400000">
        <a:off x="3745111" y="475488"/>
        <a:ext cx="3482578" cy="1426464"/>
      </dsp:txXfrm>
    </dsp:sp>
    <dsp:sp modelId="{9107C1F3-3141-476D-B89F-4DDFD2E4585D}">
      <dsp:nvSpPr>
        <dsp:cNvPr id="0" name=""/>
        <dsp:cNvSpPr/>
      </dsp:nvSpPr>
      <dsp:spPr>
        <a:xfrm rot="16200000">
          <a:off x="8042790" y="-552569"/>
          <a:ext cx="2377440" cy="3482578"/>
        </a:xfrm>
        <a:prstGeom prst="flowChartManualOperati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None/>
          </a:pPr>
          <a:r>
            <a:rPr lang="en-US" sz="2400" kern="1200"/>
            <a:t>Aliases do </a:t>
          </a:r>
          <a:r>
            <a:rPr lang="en-US" sz="2400" b="1" kern="1200"/>
            <a:t>not</a:t>
          </a:r>
          <a:r>
            <a:rPr lang="en-US" sz="2400" kern="1200"/>
            <a:t> show in </a:t>
          </a:r>
          <a:r>
            <a:rPr lang="en-US" sz="2400" kern="1200" err="1"/>
            <a:t>Intellisense</a:t>
          </a:r>
          <a:endParaRPr lang="en-US" sz="2400" kern="1200"/>
        </a:p>
      </dsp:txBody>
      <dsp:txXfrm rot="5400000">
        <a:off x="7490221" y="475488"/>
        <a:ext cx="3482578" cy="142646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2EEDD0-01B8-42E8-B031-5801397170FC}">
      <dsp:nvSpPr>
        <dsp:cNvPr id="0" name=""/>
        <dsp:cNvSpPr/>
      </dsp:nvSpPr>
      <dsp:spPr>
        <a:xfrm>
          <a:off x="0" y="0"/>
          <a:ext cx="2194560" cy="2194560"/>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BF9F91-F772-4757-9718-56D121BD5D16}">
      <dsp:nvSpPr>
        <dsp:cNvPr id="0" name=""/>
        <dsp:cNvSpPr/>
      </dsp:nvSpPr>
      <dsp:spPr>
        <a:xfrm>
          <a:off x="1097280" y="0"/>
          <a:ext cx="9875520" cy="219456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Positional parameters will accept </a:t>
          </a:r>
          <a:r>
            <a:rPr lang="en-US" sz="2800" b="1" kern="1200"/>
            <a:t>one value</a:t>
          </a:r>
          <a:r>
            <a:rPr lang="en-US" sz="2800" kern="1200"/>
            <a:t> per parameter</a:t>
          </a:r>
        </a:p>
      </dsp:txBody>
      <dsp:txXfrm>
        <a:off x="1097280" y="0"/>
        <a:ext cx="9875520" cy="1042416"/>
      </dsp:txXfrm>
    </dsp:sp>
    <dsp:sp modelId="{279C61D0-B274-41A9-A040-134FF1CD0705}">
      <dsp:nvSpPr>
        <dsp:cNvPr id="0" name=""/>
        <dsp:cNvSpPr/>
      </dsp:nvSpPr>
      <dsp:spPr>
        <a:xfrm>
          <a:off x="576072" y="1042416"/>
          <a:ext cx="1042416" cy="104241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BCB7EF-1BDC-40A4-A834-55FE00045C06}">
      <dsp:nvSpPr>
        <dsp:cNvPr id="0" name=""/>
        <dsp:cNvSpPr/>
      </dsp:nvSpPr>
      <dsp:spPr>
        <a:xfrm>
          <a:off x="1097280" y="1042416"/>
          <a:ext cx="9875520" cy="104241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If </a:t>
          </a:r>
          <a:r>
            <a:rPr lang="en-US" sz="2800" b="1" kern="1200"/>
            <a:t>extra</a:t>
          </a:r>
          <a:r>
            <a:rPr lang="en-US" sz="2800" kern="1200"/>
            <a:t> </a:t>
          </a:r>
          <a:r>
            <a:rPr lang="en-US" sz="2800" b="1" kern="1200"/>
            <a:t>values</a:t>
          </a:r>
          <a:r>
            <a:rPr lang="en-US" sz="2800" kern="1200"/>
            <a:t> are provided, an </a:t>
          </a:r>
          <a:r>
            <a:rPr lang="en-US" sz="2800" b="1" kern="1200"/>
            <a:t>error</a:t>
          </a:r>
          <a:r>
            <a:rPr lang="en-US" sz="2800" kern="1200"/>
            <a:t> occurs</a:t>
          </a:r>
        </a:p>
      </dsp:txBody>
      <dsp:txXfrm>
        <a:off x="1097280" y="1042416"/>
        <a:ext cx="9875520" cy="104241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6/28/2022 9:09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6/28/2022 9:02 A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6/28/2022 9:02 A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10</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114393185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11</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1891521282"/>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2854586590"/>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3924103879"/>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32701238"/>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78039995"/>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561749175"/>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smtClean="0"/>
              <a:pPr/>
              <a:t>17</a:t>
            </a:fld>
            <a:endParaRPr lang="en-US"/>
          </a:p>
        </p:txBody>
      </p:sp>
      <p:sp>
        <p:nvSpPr>
          <p:cNvPr id="5" name="Date Placeholder 4"/>
          <p:cNvSpPr>
            <a:spLocks noGrp="1"/>
          </p:cNvSpPr>
          <p:nvPr>
            <p:ph type="dt" idx="1"/>
          </p:nvPr>
        </p:nvSpPr>
        <p:spPr/>
        <p:txBody>
          <a:bodyPr/>
          <a:lstStyle/>
          <a:p>
            <a:fld id="{B63683C5-D28F-4EF7-868C-6B282EBD67F9}" type="datetime8">
              <a:rPr lang="en-US" smtClean="0"/>
              <a:t>6/28/2022 9:02 AM</a:t>
            </a:fld>
            <a:endParaRPr lang="en-US"/>
          </a:p>
        </p:txBody>
      </p:sp>
    </p:spTree>
    <p:extLst>
      <p:ext uri="{BB962C8B-B14F-4D97-AF65-F5344CB8AC3E}">
        <p14:creationId xmlns:p14="http://schemas.microsoft.com/office/powerpoint/2010/main" val="631097967"/>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sp>
      <p:sp>
        <p:nvSpPr>
          <p:cNvPr id="4" name="Fußzeilenplatzhalt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Foliennummernplatzhalter 4"/>
          <p:cNvSpPr>
            <a:spLocks noGrp="1"/>
          </p:cNvSpPr>
          <p:nvPr>
            <p:ph type="sldNum" sz="quarter" idx="5"/>
          </p:nvPr>
        </p:nvSpPr>
        <p:spPr/>
        <p:txBody>
          <a:bodyPr/>
          <a:lstStyle/>
          <a:p>
            <a:fld id="{2910A2D9-F064-48EF-99CB-A51108C1AB40}" type="slidenum">
              <a:rPr lang="en-US" noProof="0"/>
              <a:t>18</a:t>
            </a:fld>
            <a:endParaRPr lang="en-US" noProof="0"/>
          </a:p>
        </p:txBody>
      </p:sp>
    </p:spTree>
    <p:extLst>
      <p:ext uri="{BB962C8B-B14F-4D97-AF65-F5344CB8AC3E}">
        <p14:creationId xmlns:p14="http://schemas.microsoft.com/office/powerpoint/2010/main" val="3787339667"/>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sp>
      <p:sp>
        <p:nvSpPr>
          <p:cNvPr id="4" name="Fußzeilenplatzhalt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Foliennummernplatzhalter 4"/>
          <p:cNvSpPr>
            <a:spLocks noGrp="1"/>
          </p:cNvSpPr>
          <p:nvPr>
            <p:ph type="sldNum" sz="quarter" idx="5"/>
          </p:nvPr>
        </p:nvSpPr>
        <p:spPr/>
        <p:txBody>
          <a:bodyPr/>
          <a:lstStyle/>
          <a:p>
            <a:fld id="{2910A2D9-F064-48EF-99CB-A51108C1AB40}" type="slidenum">
              <a:rPr lang="en-US" noProof="0"/>
              <a:t>19</a:t>
            </a:fld>
            <a:endParaRPr lang="en-US" noProof="0"/>
          </a:p>
        </p:txBody>
      </p:sp>
    </p:spTree>
    <p:extLst>
      <p:ext uri="{BB962C8B-B14F-4D97-AF65-F5344CB8AC3E}">
        <p14:creationId xmlns:p14="http://schemas.microsoft.com/office/powerpoint/2010/main" val="1828791657"/>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6/28/2022 9:02 A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sp>
      <p:sp>
        <p:nvSpPr>
          <p:cNvPr id="4" name="Fußzeilenplatzhalt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Foliennummernplatzhalter 4"/>
          <p:cNvSpPr>
            <a:spLocks noGrp="1"/>
          </p:cNvSpPr>
          <p:nvPr>
            <p:ph type="sldNum" sz="quarter" idx="5"/>
          </p:nvPr>
        </p:nvSpPr>
        <p:spPr/>
        <p:txBody>
          <a:bodyPr/>
          <a:lstStyle/>
          <a:p>
            <a:fld id="{2910A2D9-F064-48EF-99CB-A51108C1AB40}" type="slidenum">
              <a:rPr lang="en-US" noProof="0"/>
              <a:t>20</a:t>
            </a:fld>
            <a:endParaRPr lang="en-US" noProof="0"/>
          </a:p>
        </p:txBody>
      </p:sp>
    </p:spTree>
    <p:extLst>
      <p:ext uri="{BB962C8B-B14F-4D97-AF65-F5344CB8AC3E}">
        <p14:creationId xmlns:p14="http://schemas.microsoft.com/office/powerpoint/2010/main" val="3919038386"/>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6/2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77848444"/>
      </p:ext>
    </p:extLst>
  </p:cSld>
  <p:clrMapOvr>
    <a:masterClrMapping/>
  </p:clrMapOvr>
</p:notes>
</file>

<file path=ppt/notesSlides/notesSlide2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6/2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32617687"/>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2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467012217"/>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24</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p:txBody>
          <a:bodyPr/>
          <a:lstStyle/>
          <a:p>
            <a:fld id="{FEF7E070-ACE9-4688-9DF6-05A4C1EB9BC3}" type="datetime8">
              <a:rPr lang="en-US"/>
              <a:t>6/28/2022 9:02 A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342415703"/>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601069654"/>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900"/>
              <a:t>Prompts user for missing values on command line</a:t>
            </a:r>
            <a:r>
              <a:rPr lang="en-US" sz="900" b="1"/>
              <a:t> even when run from a script</a:t>
            </a:r>
          </a:p>
          <a:p>
            <a:pPr marL="171450" lvl="0" indent="-171450">
              <a:buFont typeface="Arial" panose="020B0604020202020204" pitchFamily="34" charset="0"/>
              <a:buChar char="•"/>
            </a:pPr>
            <a:r>
              <a:rPr lang="en-US" sz="900" b="0" err="1"/>
              <a:t>HelpMessage</a:t>
            </a:r>
            <a:r>
              <a:rPr lang="en-US" sz="900" b="0"/>
              <a:t> can only be used when mandatory is used</a:t>
            </a:r>
          </a:p>
          <a:p>
            <a:endParaRPr lang="en-US"/>
          </a:p>
          <a:p>
            <a:r>
              <a:rPr lang="en-US"/>
              <a:t>########</a:t>
            </a:r>
          </a:p>
        </p:txBody>
      </p:sp>
      <p:sp>
        <p:nvSpPr>
          <p:cNvPr id="4" name="Slide Number Placeholder 3"/>
          <p:cNvSpPr>
            <a:spLocks noGrp="1"/>
          </p:cNvSpPr>
          <p:nvPr>
            <p:ph type="sldNum" sz="quarter" idx="5"/>
          </p:nvPr>
        </p:nvSpPr>
        <p:spPr/>
        <p:txBody>
          <a:bodyPr/>
          <a:lstStyle/>
          <a:p>
            <a:fld id="{B4008EB6-D09E-4580-8CD6-DDB14511944F}" type="slidenum">
              <a:rPr lang="en-US"/>
              <a:pPr/>
              <a:t>5</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2502131524"/>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mon question</a:t>
            </a:r>
          </a:p>
          <a:p>
            <a:pPr marL="171450" marR="0" lvl="0" indent="-171450" algn="l" defTabSz="914460"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t>The Position argument still applies if </a:t>
            </a:r>
            <a:r>
              <a:rPr lang="en-US" sz="900" err="1"/>
              <a:t>CmdletBinding</a:t>
            </a:r>
            <a:r>
              <a:rPr lang="en-US" sz="900"/>
              <a:t> disabled positional binding</a:t>
            </a:r>
            <a:endParaRPr lang="en-US"/>
          </a:p>
          <a:p>
            <a:endParaRPr lang="en-US"/>
          </a:p>
          <a:p>
            <a:r>
              <a:rPr lang="en-US"/>
              <a:t>########</a:t>
            </a:r>
          </a:p>
        </p:txBody>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213301199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smtClean="0"/>
              <a:pPr/>
              <a:t>7</a:t>
            </a:fld>
            <a:endParaRPr lang="en-US"/>
          </a:p>
        </p:txBody>
      </p:sp>
      <p:sp>
        <p:nvSpPr>
          <p:cNvPr id="5" name="Date Placeholder 4"/>
          <p:cNvSpPr>
            <a:spLocks noGrp="1"/>
          </p:cNvSpPr>
          <p:nvPr>
            <p:ph type="dt" idx="1"/>
          </p:nvPr>
        </p:nvSpPr>
        <p:spPr/>
        <p:txBody>
          <a:bodyPr/>
          <a:lstStyle/>
          <a:p>
            <a:fld id="{B63683C5-D28F-4EF7-868C-6B282EBD67F9}" type="datetime8">
              <a:rPr lang="en-US" smtClean="0"/>
              <a:t>6/28/2022 9:02 AM</a:t>
            </a:fld>
            <a:endParaRPr lang="en-US"/>
          </a:p>
        </p:txBody>
      </p:sp>
    </p:spTree>
    <p:extLst>
      <p:ext uri="{BB962C8B-B14F-4D97-AF65-F5344CB8AC3E}">
        <p14:creationId xmlns:p14="http://schemas.microsoft.com/office/powerpoint/2010/main" val="140076074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8</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3648594734"/>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9</a:t>
            </a:fld>
            <a:endParaRPr lang="en-US"/>
          </a:p>
        </p:txBody>
      </p:sp>
      <p:sp>
        <p:nvSpPr>
          <p:cNvPr id="5" name="Date Placeholder 4"/>
          <p:cNvSpPr>
            <a:spLocks noGrp="1"/>
          </p:cNvSpPr>
          <p:nvPr>
            <p:ph type="dt" idx="1"/>
          </p:nvPr>
        </p:nvSpPr>
        <p:spPr/>
        <p:txBody>
          <a:bodyPr/>
          <a:lstStyle/>
          <a:p>
            <a:fld id="{B63683C5-D28F-4EF7-868C-6B282EBD67F9}" type="datetime8">
              <a:rPr lang="en-US"/>
              <a:t>6/28/2022 9:02 AM</a:t>
            </a:fld>
            <a:endParaRPr lang="en-US"/>
          </a:p>
        </p:txBody>
      </p:sp>
    </p:spTree>
    <p:extLst>
      <p:ext uri="{BB962C8B-B14F-4D97-AF65-F5344CB8AC3E}">
        <p14:creationId xmlns:p14="http://schemas.microsoft.com/office/powerpoint/2010/main" val="22917542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1543079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67409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1828573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974305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38541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61232904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8568633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2292942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88981967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20271589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4929831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3981082895"/>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5337913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1136157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8681866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545108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8754475"/>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6312696"/>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750971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8240041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8602945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5369871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0070540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5724331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7855790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5208255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9418316"/>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40985443"/>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66674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203686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1009481"/>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64993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0437242"/>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30764002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01644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65608"/>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18641784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05948749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3964151"/>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409674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28699977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7078085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13442242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6263731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386529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4498956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7263506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68361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66295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208503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48118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89656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26240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3322660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7971574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96301704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8140512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176376785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32382631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572139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621463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34768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27180557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783577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5874763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6502423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3968031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221384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2496375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864717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272723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93312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1727006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781510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91808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063833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6475063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3596590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372655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081046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22302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819274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54143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66706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33434309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652835782"/>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871199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610204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tags" Target="../tags/tag7.xml"/><Relationship Id="rId50" Type="http://schemas.openxmlformats.org/officeDocument/2006/relationships/image" Target="../media/image1.emf"/><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theme" Target="../theme/theme2.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tags" Target="../tags/tag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tags" Target="../tags/tag8.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tags" Target="../tags/tag6.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0502810"/>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658559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slideLayout" Target="../slideLayouts/slideLayout8.xml"/><Relationship Id="rId7" Type="http://schemas.openxmlformats.org/officeDocument/2006/relationships/diagramQuickStyle" Target="../diagrams/quickStyle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notesSlide" Target="../notesSlides/notesSlide10.xml"/><Relationship Id="rId9" Type="http://schemas.microsoft.com/office/2007/relationships/diagramDrawing" Target="../diagrams/drawing8.xml"/></Relationships>
</file>

<file path=ppt/slides/_rels/slide11.xml.rels>&#65279;<?xml version="1.0" encoding="utf-8"?><Relationships xmlns="http://schemas.openxmlformats.org/package/2006/relationships"><Relationship Type="http://schemas.openxmlformats.org/officeDocument/2006/relationships/slideLayout" Target="../slideLayouts/slideLayout8.xml" Id="rId3" /><Relationship Type="http://schemas.openxmlformats.org/officeDocument/2006/relationships/tags" Target="../tags/tag29.xml" Id="rId2" /><Relationship Type="http://schemas.openxmlformats.org/officeDocument/2006/relationships/tags" Target="../tags/tag28.xml" Id="rId1" /><Relationship Type="http://schemas.openxmlformats.org/officeDocument/2006/relationships/image" Target="../media/image14.png" Id="rId6" /><Relationship Type="http://schemas.openxmlformats.org/officeDocument/2006/relationships/notesSlide" Target="../notesSlides/notesSlide11.xml" Id="rId4" /></Relationships>
</file>

<file path=ppt/slides/_rels/slide12.xml.rels>&#65279;<?xml version="1.0" encoding="utf-8"?><Relationships xmlns="http://schemas.openxmlformats.org/package/2006/relationships"><Relationship Type="http://schemas.openxmlformats.org/officeDocument/2006/relationships/diagramQuickStyle" Target="../diagrams/quickStyle9.xml" Id="rId8" /><Relationship Type="http://schemas.openxmlformats.org/officeDocument/2006/relationships/slideLayout" Target="../slideLayouts/slideLayout15.xml" Id="rId3" /><Relationship Type="http://schemas.openxmlformats.org/officeDocument/2006/relationships/diagramLayout" Target="../diagrams/layout9.xml" Id="rId7" /><Relationship Type="http://schemas.openxmlformats.org/officeDocument/2006/relationships/tags" Target="../tags/tag31.xml" Id="rId2" /><Relationship Type="http://schemas.openxmlformats.org/officeDocument/2006/relationships/tags" Target="../tags/tag30.xml" Id="rId1" /><Relationship Type="http://schemas.openxmlformats.org/officeDocument/2006/relationships/diagramData" Target="../diagrams/data9.xml" Id="rId6" /><Relationship Type="http://schemas.microsoft.com/office/2007/relationships/diagramDrawing" Target="../diagrams/drawing9.xml" Id="rId10" /><Relationship Type="http://schemas.openxmlformats.org/officeDocument/2006/relationships/notesSlide" Target="../notesSlides/notesSlide12.xml" Id="rId4" /><Relationship Type="http://schemas.openxmlformats.org/officeDocument/2006/relationships/diagramColors" Target="../diagrams/colors9.xml" Id="rId9" /></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slideLayout" Target="../slideLayouts/slideLayout15.xml"/><Relationship Id="rId7" Type="http://schemas.openxmlformats.org/officeDocument/2006/relationships/diagramQuickStyle" Target="../diagrams/quickStyle10.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notesSlide" Target="../notesSlides/notesSlide13.xml"/><Relationship Id="rId9" Type="http://schemas.microsoft.com/office/2007/relationships/diagramDrawing" Target="../diagrams/drawing10.xml"/></Relationships>
</file>

<file path=ppt/slides/_rels/slide14.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35.xml" Id="rId2" /><Relationship Type="http://schemas.openxmlformats.org/officeDocument/2006/relationships/tags" Target="../tags/tag34.xml" Id="rId1" /><Relationship Type="http://schemas.openxmlformats.org/officeDocument/2006/relationships/image" Target="../media/image15.jpeg" Id="rId6" /><Relationship Type="http://schemas.openxmlformats.org/officeDocument/2006/relationships/notesSlide" Target="../notesSlides/notesSlide14.xml" Id="rId4" /></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6.jpeg"/><Relationship Id="rId4" Type="http://schemas.openxmlformats.org/officeDocument/2006/relationships/notesSlide" Target="../notesSlides/notesSlide15.xml"/></Relationships>
</file>

<file path=ppt/slides/_rels/slide16.xml.rels>&#65279;<?xml version="1.0" encoding="utf-8"?><Relationships xmlns="http://schemas.openxmlformats.org/package/2006/relationships"><Relationship Type="http://schemas.openxmlformats.org/officeDocument/2006/relationships/diagramColors" Target="../diagrams/colors11.xml" Id="rId8" /><Relationship Type="http://schemas.openxmlformats.org/officeDocument/2006/relationships/diagramColors" Target="../diagrams/colors12.xml" Id="rId13" /><Relationship Type="http://schemas.openxmlformats.org/officeDocument/2006/relationships/diagramColors" Target="../diagrams/colors13.xml" Id="rId18" /><Relationship Type="http://schemas.openxmlformats.org/officeDocument/2006/relationships/notesSlide" Target="../notesSlides/notesSlide16.xml" Id="rId3" /><Relationship Type="http://schemas.openxmlformats.org/officeDocument/2006/relationships/diagramQuickStyle" Target="../diagrams/quickStyle11.xml" Id="rId7" /><Relationship Type="http://schemas.openxmlformats.org/officeDocument/2006/relationships/diagramQuickStyle" Target="../diagrams/quickStyle12.xml" Id="rId12" /><Relationship Type="http://schemas.openxmlformats.org/officeDocument/2006/relationships/diagramQuickStyle" Target="../diagrams/quickStyle13.xml" Id="rId17" /><Relationship Type="http://schemas.openxmlformats.org/officeDocument/2006/relationships/slideLayout" Target="../slideLayouts/slideLayout8.xml" Id="rId2" /><Relationship Type="http://schemas.openxmlformats.org/officeDocument/2006/relationships/diagramLayout" Target="../diagrams/layout13.xml" Id="rId16" /><Relationship Type="http://schemas.openxmlformats.org/officeDocument/2006/relationships/tags" Target="../tags/tag38.xml" Id="rId1" /><Relationship Type="http://schemas.openxmlformats.org/officeDocument/2006/relationships/diagramLayout" Target="../diagrams/layout11.xml" Id="rId6" /><Relationship Type="http://schemas.openxmlformats.org/officeDocument/2006/relationships/diagramLayout" Target="../diagrams/layout12.xml" Id="rId11" /><Relationship Type="http://schemas.openxmlformats.org/officeDocument/2006/relationships/diagramData" Target="../diagrams/data11.xml" Id="rId5" /><Relationship Type="http://schemas.openxmlformats.org/officeDocument/2006/relationships/diagramData" Target="../diagrams/data13.xml" Id="rId15" /><Relationship Type="http://schemas.openxmlformats.org/officeDocument/2006/relationships/diagramData" Target="../diagrams/data12.xml" Id="rId10" /><Relationship Type="http://schemas.microsoft.com/office/2007/relationships/diagramDrawing" Target="../diagrams/drawing13.xml" Id="rId19" /><Relationship Type="http://schemas.microsoft.com/office/2007/relationships/diagramDrawing" Target="../diagrams/drawing11.xml" Id="rId9" /><Relationship Type="http://schemas.microsoft.com/office/2007/relationships/diagramDrawing" Target="../diagrams/drawing12.xml" Id="rId14" /></Relationships>
</file>

<file path=ppt/slides/_rels/slide17.xml.rels>&#65279;<?xml version="1.0" encoding="utf-8"?><Relationships xmlns="http://schemas.openxmlformats.org/package/2006/relationships"><Relationship Type="http://schemas.openxmlformats.org/officeDocument/2006/relationships/diagramQuickStyle" Target="../diagrams/quickStyle14.xml" Id="rId8" /><Relationship Type="http://schemas.openxmlformats.org/officeDocument/2006/relationships/slideLayout" Target="../slideLayouts/slideLayout8.xml" Id="rId3" /><Relationship Type="http://schemas.openxmlformats.org/officeDocument/2006/relationships/diagramLayout" Target="../diagrams/layout14.xml" Id="rId7" /><Relationship Type="http://schemas.openxmlformats.org/officeDocument/2006/relationships/tags" Target="../tags/tag40.xml" Id="rId2" /><Relationship Type="http://schemas.openxmlformats.org/officeDocument/2006/relationships/tags" Target="../tags/tag39.xml" Id="rId1" /><Relationship Type="http://schemas.openxmlformats.org/officeDocument/2006/relationships/diagramData" Target="../diagrams/data14.xml" Id="rId6" /><Relationship Type="http://schemas.openxmlformats.org/officeDocument/2006/relationships/image" Target="../media/image17.png" Id="rId11" /><Relationship Type="http://schemas.microsoft.com/office/2007/relationships/diagramDrawing" Target="../diagrams/drawing14.xml" Id="rId10" /><Relationship Type="http://schemas.openxmlformats.org/officeDocument/2006/relationships/notesSlide" Target="../notesSlides/notesSlide17.xml" Id="rId4" /><Relationship Type="http://schemas.openxmlformats.org/officeDocument/2006/relationships/diagramColors" Target="../diagrams/colors14.xml" Id="rId9" /></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5.xml"/><Relationship Id="rId13" Type="http://schemas.openxmlformats.org/officeDocument/2006/relationships/diagramColors" Target="../diagrams/colors16.xml"/><Relationship Id="rId3" Type="http://schemas.openxmlformats.org/officeDocument/2006/relationships/slideLayout" Target="../slideLayouts/slideLayout15.xml"/><Relationship Id="rId7" Type="http://schemas.openxmlformats.org/officeDocument/2006/relationships/diagramQuickStyle" Target="../diagrams/quickStyle15.xml"/><Relationship Id="rId12" Type="http://schemas.openxmlformats.org/officeDocument/2006/relationships/diagramQuickStyle" Target="../diagrams/quickStyle1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diagramLayout" Target="../diagrams/layout15.xml"/><Relationship Id="rId11" Type="http://schemas.openxmlformats.org/officeDocument/2006/relationships/diagramLayout" Target="../diagrams/layout16.xml"/><Relationship Id="rId5" Type="http://schemas.openxmlformats.org/officeDocument/2006/relationships/diagramData" Target="../diagrams/data15.xml"/><Relationship Id="rId10" Type="http://schemas.openxmlformats.org/officeDocument/2006/relationships/diagramData" Target="../diagrams/data16.xml"/><Relationship Id="rId4" Type="http://schemas.openxmlformats.org/officeDocument/2006/relationships/notesSlide" Target="../notesSlides/notesSlide18.xml"/><Relationship Id="rId9" Type="http://schemas.microsoft.com/office/2007/relationships/diagramDrawing" Target="../diagrams/drawing15.xml"/><Relationship Id="rId14" Type="http://schemas.microsoft.com/office/2007/relationships/diagramDrawing" Target="../diagrams/drawing16.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7.xml"/><Relationship Id="rId13" Type="http://schemas.openxmlformats.org/officeDocument/2006/relationships/diagramColors" Target="../diagrams/colors18.xml"/><Relationship Id="rId3" Type="http://schemas.openxmlformats.org/officeDocument/2006/relationships/slideLayout" Target="../slideLayouts/slideLayout15.xml"/><Relationship Id="rId7" Type="http://schemas.openxmlformats.org/officeDocument/2006/relationships/diagramQuickStyle" Target="../diagrams/quickStyle17.xml"/><Relationship Id="rId12" Type="http://schemas.openxmlformats.org/officeDocument/2006/relationships/diagramQuickStyle" Target="../diagrams/quickStyle18.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diagramLayout" Target="../diagrams/layout17.xml"/><Relationship Id="rId11" Type="http://schemas.openxmlformats.org/officeDocument/2006/relationships/diagramLayout" Target="../diagrams/layout18.xml"/><Relationship Id="rId5" Type="http://schemas.openxmlformats.org/officeDocument/2006/relationships/diagramData" Target="../diagrams/data17.xml"/><Relationship Id="rId10" Type="http://schemas.openxmlformats.org/officeDocument/2006/relationships/diagramData" Target="../diagrams/data18.xml"/><Relationship Id="rId4" Type="http://schemas.openxmlformats.org/officeDocument/2006/relationships/notesSlide" Target="../notesSlides/notesSlide19.xml"/><Relationship Id="rId9" Type="http://schemas.microsoft.com/office/2007/relationships/diagramDrawing" Target="../diagrams/drawing17.xml"/><Relationship Id="rId14" Type="http://schemas.microsoft.com/office/2007/relationships/diagramDrawing" Target="../diagrams/drawing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11.xml"/></Relationships>
</file>

<file path=ppt/slides/_rels/slide20.xml.rels>&#65279;<?xml version="1.0" encoding="utf-8"?><Relationships xmlns="http://schemas.openxmlformats.org/package/2006/relationships"><Relationship Type="http://schemas.openxmlformats.org/officeDocument/2006/relationships/diagramColors" Target="../diagrams/colors19.xml" Id="rId8" /><Relationship Type="http://schemas.openxmlformats.org/officeDocument/2006/relationships/diagramColors" Target="../diagrams/colors20.xml" Id="rId13" /><Relationship Type="http://schemas.openxmlformats.org/officeDocument/2006/relationships/notesSlide" Target="../notesSlides/notesSlide20.xml" Id="rId3" /><Relationship Type="http://schemas.openxmlformats.org/officeDocument/2006/relationships/diagramQuickStyle" Target="../diagrams/quickStyle19.xml" Id="rId7" /><Relationship Type="http://schemas.openxmlformats.org/officeDocument/2006/relationships/diagramQuickStyle" Target="../diagrams/quickStyle20.xml" Id="rId12" /><Relationship Type="http://schemas.openxmlformats.org/officeDocument/2006/relationships/slideLayout" Target="../slideLayouts/slideLayout15.xml" Id="rId2" /><Relationship Type="http://schemas.openxmlformats.org/officeDocument/2006/relationships/tags" Target="../tags/tag45.xml" Id="rId1" /><Relationship Type="http://schemas.openxmlformats.org/officeDocument/2006/relationships/diagramLayout" Target="../diagrams/layout19.xml" Id="rId6" /><Relationship Type="http://schemas.openxmlformats.org/officeDocument/2006/relationships/diagramLayout" Target="../diagrams/layout20.xml" Id="rId11" /><Relationship Type="http://schemas.openxmlformats.org/officeDocument/2006/relationships/diagramData" Target="../diagrams/data19.xml" Id="rId5" /><Relationship Type="http://schemas.openxmlformats.org/officeDocument/2006/relationships/diagramData" Target="../diagrams/data20.xml" Id="rId10" /><Relationship Type="http://schemas.microsoft.com/office/2007/relationships/diagramDrawing" Target="../diagrams/drawing19.xml" Id="rId9" /><Relationship Type="http://schemas.microsoft.com/office/2007/relationships/diagramDrawing" Target="../diagrams/drawing20.xml" Id="rId14" /></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5.jpe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6.jpe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2.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3.xml"/><Relationship Id="rId1" Type="http://schemas.openxmlformats.org/officeDocument/2006/relationships/tags" Target="../tags/tag52.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52.xml"/><Relationship Id="rId1" Type="http://schemas.openxmlformats.org/officeDocument/2006/relationships/tags" Target="../tags/tag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65279;<?xml version="1.0" encoding="utf-8"?><Relationships xmlns="http://schemas.openxmlformats.org/package/2006/relationships"><Relationship Type="http://schemas.openxmlformats.org/officeDocument/2006/relationships/diagramQuickStyle" Target="../diagrams/quickStyle2.xml" Id="rId8" /><Relationship Type="http://schemas.openxmlformats.org/officeDocument/2006/relationships/slideLayout" Target="../slideLayouts/slideLayout8.xml" Id="rId3" /><Relationship Type="http://schemas.openxmlformats.org/officeDocument/2006/relationships/diagramLayout" Target="../diagrams/layout2.xml" Id="rId7" /><Relationship Type="http://schemas.openxmlformats.org/officeDocument/2006/relationships/tags" Target="../tags/tag14.xml" Id="rId2" /><Relationship Type="http://schemas.openxmlformats.org/officeDocument/2006/relationships/tags" Target="../tags/tag13.xml" Id="rId1" /><Relationship Type="http://schemas.openxmlformats.org/officeDocument/2006/relationships/diagramData" Target="../diagrams/data2.xml" Id="rId6" /><Relationship Type="http://schemas.microsoft.com/office/2007/relationships/diagramDrawing" Target="../diagrams/drawing2.xml" Id="rId10" /><Relationship Type="http://schemas.openxmlformats.org/officeDocument/2006/relationships/notesSlide" Target="../notesSlides/notesSlide4.xml" Id="rId4" /><Relationship Type="http://schemas.openxmlformats.org/officeDocument/2006/relationships/diagramColors" Target="../diagrams/colors2.xml" Id="rId9" /></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8.xml"/><Relationship Id="rId7" Type="http://schemas.openxmlformats.org/officeDocument/2006/relationships/diagramQuickStyle" Target="../diagrams/quickStyle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5.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tags" Target="../tags/tag19.xml"/><Relationship Id="rId7" Type="http://schemas.openxmlformats.org/officeDocument/2006/relationships/diagramLayout" Target="../diagrams/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diagramData" Target="../diagrams/data4.xml"/><Relationship Id="rId5" Type="http://schemas.openxmlformats.org/officeDocument/2006/relationships/notesSlide" Target="../notesSlides/notesSlide6.xml"/><Relationship Id="rId10" Type="http://schemas.microsoft.com/office/2007/relationships/diagramDrawing" Target="../diagrams/drawing4.xml"/><Relationship Id="rId4" Type="http://schemas.openxmlformats.org/officeDocument/2006/relationships/slideLayout" Target="../slideLayouts/slideLayout8.xml"/><Relationship Id="rId9" Type="http://schemas.openxmlformats.org/officeDocument/2006/relationships/diagramColors" Target="../diagrams/colors4.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1.xml"/><Relationship Id="rId7" Type="http://schemas.openxmlformats.org/officeDocument/2006/relationships/diagramQuickStyle" Target="../diagrams/quickStyle5.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7.xml"/><Relationship Id="rId9" Type="http://schemas.microsoft.com/office/2007/relationships/diagramDrawing" Target="../diagrams/drawing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8.xml"/><Relationship Id="rId7" Type="http://schemas.openxmlformats.org/officeDocument/2006/relationships/diagramQuickStyle" Target="../diagrams/quickStyle6.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notesSlide" Target="../notesSlides/notesSlide8.xml"/><Relationship Id="rId9" Type="http://schemas.microsoft.com/office/2007/relationships/diagramDrawing" Target="../diagrams/drawing6.xml"/></Relationships>
</file>

<file path=ppt/slides/_rels/slide9.xml.rels>&#65279;<?xml version="1.0" encoding="utf-8"?><Relationships xmlns="http://schemas.openxmlformats.org/package/2006/relationships"><Relationship Type="http://schemas.openxmlformats.org/officeDocument/2006/relationships/diagramQuickStyle" Target="../diagrams/quickStyle7.xml" Id="rId8" /><Relationship Type="http://schemas.openxmlformats.org/officeDocument/2006/relationships/slideLayout" Target="../slideLayouts/slideLayout8.xml" Id="rId3" /><Relationship Type="http://schemas.openxmlformats.org/officeDocument/2006/relationships/diagramLayout" Target="../diagrams/layout7.xml" Id="rId7" /><Relationship Type="http://schemas.openxmlformats.org/officeDocument/2006/relationships/tags" Target="../tags/tag25.xml" Id="rId2" /><Relationship Type="http://schemas.openxmlformats.org/officeDocument/2006/relationships/tags" Target="../tags/tag24.xml" Id="rId1" /><Relationship Type="http://schemas.openxmlformats.org/officeDocument/2006/relationships/diagramData" Target="../diagrams/data7.xml" Id="rId6" /><Relationship Type="http://schemas.microsoft.com/office/2007/relationships/diagramDrawing" Target="../diagrams/drawing7.xml" Id="rId10" /><Relationship Type="http://schemas.openxmlformats.org/officeDocument/2006/relationships/notesSlide" Target="../notesSlides/notesSlide9.xml" Id="rId4" /><Relationship Type="http://schemas.openxmlformats.org/officeDocument/2006/relationships/diagramColors" Target="../diagrams/colors7.xml" Id="rId9" /></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Mastering parameters of advanced functions</a:t>
            </a:r>
          </a:p>
        </p:txBody>
      </p:sp>
      <p:sp>
        <p:nvSpPr>
          <p:cNvPr id="4" name="Subtitle 3">
            <a:extLst>
              <a:ext uri="{FF2B5EF4-FFF2-40B4-BE49-F238E27FC236}">
                <a16:creationId xmlns:a16="http://schemas.microsoft.com/office/drawing/2014/main" id="{FCD41200-0348-40DA-922F-B3769631C1C8}"/>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17E6D-41AE-40EC-8E2C-1394A833D262}"/>
              </a:ext>
            </a:extLst>
          </p:cNvPr>
          <p:cNvSpPr>
            <a:spLocks noGrp="1"/>
          </p:cNvSpPr>
          <p:nvPr>
            <p:ph type="title"/>
          </p:nvPr>
        </p:nvSpPr>
        <p:spPr>
          <a:xfrm>
            <a:off x="655638" y="320040"/>
            <a:ext cx="10880725" cy="461665"/>
          </a:xfrm>
        </p:spPr>
        <p:txBody>
          <a:bodyPr/>
          <a:lstStyle/>
          <a:p>
            <a:r>
              <a:rPr lang="en-US"/>
              <a:t>[Alias()] Attribute</a:t>
            </a:r>
          </a:p>
        </p:txBody>
      </p:sp>
      <p:graphicFrame>
        <p:nvGraphicFramePr>
          <p:cNvPr id="6" name="Content Placeholder 5">
            <a:extLst>
              <a:ext uri="{FF2B5EF4-FFF2-40B4-BE49-F238E27FC236}">
                <a16:creationId xmlns:a16="http://schemas.microsoft.com/office/drawing/2014/main" id="{F25488A8-49AC-4416-AB84-CA82031319EA}"/>
              </a:ext>
            </a:extLst>
          </p:cNvPr>
          <p:cNvGraphicFramePr>
            <a:graphicFrameLocks noGrp="1"/>
          </p:cNvGraphicFramePr>
          <p:nvPr>
            <p:ph sz="quarter" idx="13"/>
            <p:extLst>
              <p:ext uri="{D42A27DB-BD31-4B8C-83A1-F6EECF244321}">
                <p14:modId xmlns:p14="http://schemas.microsoft.com/office/powerpoint/2010/main" val="284612010"/>
              </p:ext>
            </p:extLst>
          </p:nvPr>
        </p:nvGraphicFramePr>
        <p:xfrm>
          <a:off x="640080" y="1005840"/>
          <a:ext cx="10972800" cy="23774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Code Box">
            <a:extLst>
              <a:ext uri="{FF2B5EF4-FFF2-40B4-BE49-F238E27FC236}">
                <a16:creationId xmlns:a16="http://schemas.microsoft.com/office/drawing/2014/main" id="{A000310B-4532-4F07-8810-5095C1D640F1}"/>
              </a:ext>
            </a:extLst>
          </p:cNvPr>
          <p:cNvSpPr/>
          <p:nvPr>
            <p:custDataLst>
              <p:tags r:id="rId2"/>
            </p:custDataLst>
          </p:nvPr>
        </p:nvSpPr>
        <p:spPr>
          <a:xfrm>
            <a:off x="640080" y="3566160"/>
            <a:ext cx="10972800" cy="3200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lias</a:t>
            </a:r>
            <a:r>
              <a:rPr lang="en-US" sz="1800">
                <a:solidFill>
                  <a:srgbClr val="F5F5F5"/>
                </a:solidFill>
                <a:latin typeface="Lucida Console" panose="020B0609040504020204" pitchFamily="49" charset="0"/>
              </a:rPr>
              <a:t>{</a:t>
            </a:r>
          </a:p>
          <a:p>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Alia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TA"</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Alia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CN"</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MachineName</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Laptop"</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Devic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Compute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Computer name: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ComputerName</a:t>
            </a:r>
            <a:r>
              <a:rPr lang="en-US" sz="1800">
                <a:solidFill>
                  <a:srgbClr val="DB7093"/>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 </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A</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CN</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MyPC</a:t>
            </a:r>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Computer name: </a:t>
            </a:r>
            <a:r>
              <a:rPr lang="en-US" sz="1800" err="1">
                <a:solidFill>
                  <a:srgbClr val="00FF00"/>
                </a:solidFill>
                <a:latin typeface="Lucida Console" panose="020B0609040504020204" pitchFamily="49" charset="0"/>
              </a:rPr>
              <a:t>MyPC</a:t>
            </a:r>
            <a:r>
              <a:rPr lang="en-US" sz="1800">
                <a:solidFill>
                  <a:srgbClr val="00FF00"/>
                </a:solidFill>
                <a:latin typeface="Lucida Console" panose="020B0609040504020204" pitchFamily="49" charset="0"/>
              </a:rPr>
              <a:t> </a:t>
            </a:r>
          </a:p>
          <a:p>
            <a:endParaRPr lang="en-US"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645410879"/>
      </p:ext>
    </p:extLst>
  </p:cSld>
  <p:clrMapOvr>
    <a:masterClrMapping/>
  </p:clrMapOvr>
  <p:transition spd="slow"/>
</p:sld>
</file>

<file path=ppt/slides/slide11.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17E6D-41AE-40EC-8E2C-1394A833D262}"/>
              </a:ext>
            </a:extLst>
          </p:cNvPr>
          <p:cNvSpPr>
            <a:spLocks noGrp="1"/>
          </p:cNvSpPr>
          <p:nvPr>
            <p:ph type="title"/>
          </p:nvPr>
        </p:nvSpPr>
        <p:spPr>
          <a:xfrm>
            <a:off x="655638" y="320040"/>
            <a:ext cx="10880725" cy="461665"/>
          </a:xfrm>
        </p:spPr>
        <p:txBody>
          <a:bodyPr/>
          <a:lstStyle/>
          <a:p>
            <a:r>
              <a:rPr lang="en-US"/>
              <a:t>[Alias()] Attribute With Pipeline</a:t>
            </a:r>
          </a:p>
        </p:txBody>
      </p:sp>
      <p:sp>
        <p:nvSpPr>
          <p:cNvPr id="5" name="Code Box">
            <a:extLst>
              <a:ext uri="{FF2B5EF4-FFF2-40B4-BE49-F238E27FC236}">
                <a16:creationId xmlns:a16="http://schemas.microsoft.com/office/drawing/2014/main" id="{A000310B-4532-4F07-8810-5095C1D640F1}"/>
              </a:ext>
            </a:extLst>
          </p:cNvPr>
          <p:cNvSpPr/>
          <p:nvPr>
            <p:custDataLst>
              <p:tags r:id="rId2"/>
            </p:custDataLst>
          </p:nvPr>
        </p:nvSpPr>
        <p:spPr>
          <a:xfrm>
            <a:off x="457200" y="1005840"/>
            <a:ext cx="11430000" cy="5486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PipelinePropertyWithAlia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Alia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First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Firs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Alia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LastName</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Las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Alias</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EmailAddress</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Email</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roces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First</a:t>
            </a:r>
            <a:r>
              <a:rPr lang="en-US" sz="1800">
                <a:solidFill>
                  <a:srgbClr val="DB7093"/>
                </a:solidFill>
                <a:latin typeface="Lucida Console" panose="020B0609040504020204" pitchFamily="49" charset="0"/>
              </a:rPr>
              <a:t> </a:t>
            </a:r>
            <a:r>
              <a:rPr lang="en-US" sz="1800">
                <a:solidFill>
                  <a:srgbClr val="FF4500"/>
                </a:solidFill>
                <a:latin typeface="Lucida Console" panose="020B0609040504020204" pitchFamily="49" charset="0"/>
              </a:rPr>
              <a:t>$Last</a:t>
            </a:r>
            <a:r>
              <a:rPr lang="en-US" sz="1800">
                <a:solidFill>
                  <a:srgbClr val="DB7093"/>
                </a:solidFill>
                <a:latin typeface="Lucida Console" panose="020B0609040504020204" pitchFamily="49" charset="0"/>
              </a:rPr>
              <a:t> </a:t>
            </a:r>
            <a:r>
              <a:rPr lang="en-US" sz="1800">
                <a:solidFill>
                  <a:srgbClr val="FF4500"/>
                </a:solidFill>
                <a:latin typeface="Lucida Console" panose="020B0609040504020204" pitchFamily="49" charset="0"/>
              </a:rPr>
              <a:t>$Email</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Import-Csv</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People.csv</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PipelinePropertyWithAlias</a:t>
            </a:r>
            <a:endParaRPr lang="en-US" sz="1800">
              <a:solidFill>
                <a:srgbClr val="E0FFFF"/>
              </a:solidFill>
              <a:latin typeface="Lucida Console" panose="020B0609040504020204" pitchFamily="49" charset="0"/>
            </a:endParaRPr>
          </a:p>
          <a:p>
            <a:endParaRPr lang="en-US" sz="1800">
              <a:solidFill>
                <a:srgbClr val="E0FFFF"/>
              </a:solidFill>
              <a:latin typeface="Lucida Console" panose="020B0609040504020204" pitchFamily="49" charset="0"/>
            </a:endParaRPr>
          </a:p>
          <a:p>
            <a:r>
              <a:rPr lang="de-DE" sz="1800">
                <a:solidFill>
                  <a:srgbClr val="00FF00"/>
                </a:solidFill>
                <a:latin typeface="Lucida Console" panose="020B0609040504020204" pitchFamily="49" charset="0"/>
              </a:rPr>
              <a:t>Kory T Kory.T@microsoft.com</a:t>
            </a:r>
            <a:endParaRPr lang="de-DE" sz="1800">
              <a:solidFill>
                <a:srgbClr val="F5F5F5"/>
              </a:solidFill>
              <a:latin typeface="Lucida Console" panose="020B0609040504020204" pitchFamily="49" charset="0"/>
            </a:endParaRPr>
          </a:p>
          <a:p>
            <a:r>
              <a:rPr lang="de-DE" sz="1800">
                <a:solidFill>
                  <a:srgbClr val="00FF00"/>
                </a:solidFill>
                <a:latin typeface="Lucida Console" panose="020B0609040504020204" pitchFamily="49" charset="0"/>
              </a:rPr>
              <a:t>Jeff T jeff.T@Contoso.com</a:t>
            </a:r>
            <a:endParaRPr lang="de-DE" sz="1800">
              <a:solidFill>
                <a:srgbClr val="F5F5F5"/>
              </a:solidFill>
              <a:latin typeface="Lucida Console" panose="020B0609040504020204" pitchFamily="49" charset="0"/>
            </a:endParaRPr>
          </a:p>
          <a:p>
            <a:r>
              <a:rPr lang="pt-BR" sz="1800">
                <a:solidFill>
                  <a:srgbClr val="00FF00"/>
                </a:solidFill>
                <a:latin typeface="Lucida Console" panose="020B0609040504020204" pitchFamily="49" charset="0"/>
              </a:rPr>
              <a:t>Tom N Tom.N@Contoso.com </a:t>
            </a:r>
            <a:r>
              <a:rPr lang="en-US" sz="1800">
                <a:solidFill>
                  <a:srgbClr val="E0FFFF"/>
                </a:solidFill>
                <a:latin typeface="Lucida Console" panose="020B0609040504020204" pitchFamily="49" charset="0"/>
              </a:rPr>
              <a:t> </a:t>
            </a:r>
          </a:p>
        </p:txBody>
      </p:sp>
      <p:pic>
        <p:nvPicPr>
          <p:cNvPr id="8" name="Picture 7" descr="Graphical user interface, table&#10;&#10;Description automatically generated with medium confidence">
            <a:extLst>
              <a:ext uri="{FF2B5EF4-FFF2-40B4-BE49-F238E27FC236}">
                <a16:creationId xmlns:a16="http://schemas.microsoft.com/office/drawing/2014/main" id="{C70FDF3E-49EC-49A1-963F-C57873C22A35}"/>
              </a:ext>
            </a:extLst>
          </p:cNvPr>
          <p:cNvPicPr>
            <a:picLocks noChangeAspect="1"/>
          </p:cNvPicPr>
          <p:nvPr/>
        </p:nvPicPr>
        <p:blipFill>
          <a:blip r:embed="rId6"/>
          <a:stretch>
            <a:fillRect/>
          </a:stretch>
        </p:blipFill>
        <p:spPr>
          <a:xfrm>
            <a:off x="7772400" y="5029200"/>
            <a:ext cx="4042612" cy="1371600"/>
          </a:xfrm>
          <a:prstGeom prst="rect">
            <a:avLst/>
          </a:prstGeom>
        </p:spPr>
      </p:pic>
    </p:spTree>
    <p:custDataLst>
      <p:tags r:id="rId1"/>
    </p:custDataLst>
    <p:extLst>
      <p:ext uri="{BB962C8B-B14F-4D97-AF65-F5344CB8AC3E}">
        <p14:creationId xmlns:p14="http://schemas.microsoft.com/office/powerpoint/2010/main" val="3208853939"/>
      </p:ext>
    </p:extLst>
  </p:cSld>
  <p:clrMapOvr>
    <a:masterClrMapping/>
  </p:clrMapOvr>
  <p:transition spd="slow"/>
  <p:extLst>
    <p:ext uri="{6950BFC3-D8DA-4A85-94F7-54DA5524770B}">
      <p188:commentRel xmlns:p188="http://schemas.microsoft.com/office/powerpoint/2018/8/main" r:id="rId5"/>
    </p:ext>
  </p:extLst>
</p:sld>
</file>

<file path=ppt/slides/slide12.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C6778-4129-4EB2-BA7C-2601CA0DB8FD}"/>
              </a:ext>
            </a:extLst>
          </p:cNvPr>
          <p:cNvSpPr>
            <a:spLocks noGrp="1"/>
          </p:cNvSpPr>
          <p:nvPr>
            <p:ph type="title"/>
          </p:nvPr>
        </p:nvSpPr>
        <p:spPr/>
        <p:txBody>
          <a:bodyPr/>
          <a:lstStyle/>
          <a:p>
            <a:r>
              <a:rPr lang="en-US"/>
              <a:t>Excess Positional Values</a:t>
            </a:r>
          </a:p>
        </p:txBody>
      </p:sp>
      <p:sp>
        <p:nvSpPr>
          <p:cNvPr id="5" name="Code Box">
            <a:extLst>
              <a:ext uri="{FF2B5EF4-FFF2-40B4-BE49-F238E27FC236}">
                <a16:creationId xmlns:a16="http://schemas.microsoft.com/office/drawing/2014/main" id="{CD7AC34A-2A1C-4695-B0AE-C30235314FC8}"/>
              </a:ext>
            </a:extLst>
          </p:cNvPr>
          <p:cNvSpPr/>
          <p:nvPr>
            <p:custDataLst>
              <p:tags r:id="rId2"/>
            </p:custDataLst>
          </p:nvPr>
        </p:nvSpPr>
        <p:spPr>
          <a:xfrm>
            <a:off x="640080" y="3291840"/>
            <a:ext cx="10972800" cy="347472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RemainingArguments</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Mandatory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GivenName</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Mandatory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u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GivenName</a:t>
            </a:r>
            <a:r>
              <a:rPr lang="en-US" sz="1800">
                <a:solidFill>
                  <a:srgbClr val="DB7093"/>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GivenName</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Surname: </a:t>
            </a:r>
            <a:r>
              <a:rPr lang="en-US" sz="1800">
                <a:solidFill>
                  <a:srgbClr val="FF4500"/>
                </a:solidFill>
                <a:latin typeface="Lucida Console" panose="020B0609040504020204" pitchFamily="49" charset="0"/>
              </a:rPr>
              <a:t>$Surname</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RemainingArguments</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Joh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Doe</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Jr</a:t>
            </a:r>
          </a:p>
          <a:p>
            <a:r>
              <a:rPr lang="en-US" sz="1800">
                <a:solidFill>
                  <a:srgbClr val="FF9494"/>
                </a:solidFill>
                <a:latin typeface="Lucida Console" panose="020B0609040504020204" pitchFamily="49" charset="0"/>
              </a:rPr>
              <a:t>Test-</a:t>
            </a:r>
            <a:r>
              <a:rPr lang="en-US" sz="1800" err="1">
                <a:solidFill>
                  <a:srgbClr val="FF9494"/>
                </a:solidFill>
                <a:latin typeface="Lucida Console" panose="020B0609040504020204" pitchFamily="49" charset="0"/>
              </a:rPr>
              <a:t>RemainingArguments</a:t>
            </a:r>
            <a:r>
              <a:rPr lang="en-US" sz="1800">
                <a:solidFill>
                  <a:srgbClr val="FF9494"/>
                </a:solidFill>
                <a:latin typeface="Lucida Console" panose="020B0609040504020204" pitchFamily="49" charset="0"/>
              </a:rPr>
              <a:t> : A positional parameter cannot be found that accepts argument 'Jr'. </a:t>
            </a:r>
          </a:p>
          <a:p>
            <a:endParaRPr lang="en-US" sz="1800">
              <a:solidFill>
                <a:srgbClr val="F5F5F5"/>
              </a:solidFill>
              <a:latin typeface="Lucida Console" panose="020B0609040504020204" pitchFamily="49" charset="0"/>
            </a:endParaRPr>
          </a:p>
        </p:txBody>
      </p:sp>
      <p:graphicFrame>
        <p:nvGraphicFramePr>
          <p:cNvPr id="6" name="Diagram 5">
            <a:extLst>
              <a:ext uri="{FF2B5EF4-FFF2-40B4-BE49-F238E27FC236}">
                <a16:creationId xmlns:a16="http://schemas.microsoft.com/office/drawing/2014/main" id="{A1E971C9-D45C-482C-ADBC-185B72081DAF}"/>
              </a:ext>
            </a:extLst>
          </p:cNvPr>
          <p:cNvGraphicFramePr/>
          <p:nvPr>
            <p:extLst>
              <p:ext uri="{D42A27DB-BD31-4B8C-83A1-F6EECF244321}">
                <p14:modId xmlns:p14="http://schemas.microsoft.com/office/powerpoint/2010/main" val="669925235"/>
              </p:ext>
            </p:extLst>
          </p:nvPr>
        </p:nvGraphicFramePr>
        <p:xfrm>
          <a:off x="640080" y="1005840"/>
          <a:ext cx="10972800" cy="219456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4113277077"/>
      </p:ext>
    </p:extLst>
  </p:cSld>
  <p:clrMapOvr>
    <a:masterClrMapping/>
  </p:clrMapOvr>
  <p:transition spd="slow"/>
  <p:extLst>
    <p:ext uri="{6950BFC3-D8DA-4A85-94F7-54DA5524770B}">
      <p188:commentRel xmlns:p188="http://schemas.microsoft.com/office/powerpoint/2018/8/main" r:id="rId5"/>
    </p:ext>
  </p:extLst>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C6778-4129-4EB2-BA7C-2601CA0DB8FD}"/>
              </a:ext>
            </a:extLst>
          </p:cNvPr>
          <p:cNvSpPr>
            <a:spLocks noGrp="1"/>
          </p:cNvSpPr>
          <p:nvPr>
            <p:ph type="title"/>
          </p:nvPr>
        </p:nvSpPr>
        <p:spPr/>
        <p:txBody>
          <a:bodyPr/>
          <a:lstStyle/>
          <a:p>
            <a:r>
              <a:rPr lang="en-US" err="1"/>
              <a:t>ValueFromRemainingArguments</a:t>
            </a:r>
            <a:endParaRPr lang="en-US"/>
          </a:p>
        </p:txBody>
      </p:sp>
      <p:sp>
        <p:nvSpPr>
          <p:cNvPr id="5" name="Code Box">
            <a:extLst>
              <a:ext uri="{FF2B5EF4-FFF2-40B4-BE49-F238E27FC236}">
                <a16:creationId xmlns:a16="http://schemas.microsoft.com/office/drawing/2014/main" id="{CD7AC34A-2A1C-4695-B0AE-C30235314FC8}"/>
              </a:ext>
            </a:extLst>
          </p:cNvPr>
          <p:cNvSpPr/>
          <p:nvPr>
            <p:custDataLst>
              <p:tags r:id="rId2"/>
            </p:custDataLst>
          </p:nvPr>
        </p:nvSpPr>
        <p:spPr>
          <a:xfrm>
            <a:off x="640080" y="3291840"/>
            <a:ext cx="10972800" cy="347472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RemainingArguments</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Mandatory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GivenName</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Mandatory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D3D3D3"/>
                </a:solidFill>
                <a:latin typeface="Lucida Console" panose="020B0609040504020204" pitchFamily="49" charset="0"/>
              </a:rPr>
              <a:t>, </a:t>
            </a:r>
            <a:r>
              <a:rPr lang="en-US" sz="1800" err="1">
                <a:solidFill>
                  <a:srgbClr val="F5F5F5"/>
                </a:solidFill>
                <a:latin typeface="Lucida Console" panose="020B0609040504020204" pitchFamily="49" charset="0"/>
              </a:rPr>
              <a:t>ValueFromRemainingArgument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u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GivenName</a:t>
            </a:r>
            <a:r>
              <a:rPr lang="en-US" sz="1800">
                <a:solidFill>
                  <a:srgbClr val="DB7093"/>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GivenName</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Surname: </a:t>
            </a:r>
            <a:r>
              <a:rPr lang="en-US" sz="1800">
                <a:solidFill>
                  <a:srgbClr val="FF4500"/>
                </a:solidFill>
                <a:latin typeface="Lucida Console" panose="020B0609040504020204" pitchFamily="49" charset="0"/>
              </a:rPr>
              <a:t>$Surname</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E0FFFF"/>
              </a:solidFill>
              <a:latin typeface="Lucida Console" panose="020B0609040504020204" pitchFamily="49" charset="0"/>
            </a:endParaRPr>
          </a:p>
          <a:p>
            <a:r>
              <a:rPr lang="en-US" sz="1800">
                <a:solidFill>
                  <a:srgbClr val="E0FFFF"/>
                </a:solidFill>
                <a:latin typeface="Lucida Console" panose="020B0609040504020204" pitchFamily="49" charset="0"/>
              </a:rPr>
              <a:t>PS&gt; Test-</a:t>
            </a:r>
            <a:r>
              <a:rPr lang="en-US" sz="1800" err="1">
                <a:solidFill>
                  <a:srgbClr val="E0FFFF"/>
                </a:solidFill>
                <a:latin typeface="Lucida Console" panose="020B0609040504020204" pitchFamily="49" charset="0"/>
              </a:rPr>
              <a:t>RemainingArguments</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Joh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Doe</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Jr</a:t>
            </a:r>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GivenName</a:t>
            </a:r>
            <a:r>
              <a:rPr lang="en-US" sz="1800">
                <a:solidFill>
                  <a:srgbClr val="F5F5F5"/>
                </a:solidFill>
                <a:latin typeface="Lucida Console" panose="020B0609040504020204" pitchFamily="49" charset="0"/>
              </a:rPr>
              <a:t>: John</a:t>
            </a:r>
          </a:p>
          <a:p>
            <a:r>
              <a:rPr lang="en-US" sz="1800">
                <a:solidFill>
                  <a:srgbClr val="F5F5F5"/>
                </a:solidFill>
                <a:latin typeface="Lucida Console" panose="020B0609040504020204" pitchFamily="49" charset="0"/>
              </a:rPr>
              <a:t>Surname: Doe Jr</a:t>
            </a:r>
          </a:p>
          <a:p>
            <a:endParaRPr lang="en-US" sz="1800">
              <a:solidFill>
                <a:srgbClr val="F5F5F5"/>
              </a:solidFill>
              <a:latin typeface="Lucida Console" panose="020B0609040504020204" pitchFamily="49" charset="0"/>
            </a:endParaRPr>
          </a:p>
        </p:txBody>
      </p:sp>
      <p:graphicFrame>
        <p:nvGraphicFramePr>
          <p:cNvPr id="6" name="Diagram 5">
            <a:extLst>
              <a:ext uri="{FF2B5EF4-FFF2-40B4-BE49-F238E27FC236}">
                <a16:creationId xmlns:a16="http://schemas.microsoft.com/office/drawing/2014/main" id="{A1E971C9-D45C-482C-ADBC-185B72081DAF}"/>
              </a:ext>
            </a:extLst>
          </p:cNvPr>
          <p:cNvGraphicFramePr/>
          <p:nvPr>
            <p:extLst>
              <p:ext uri="{D42A27DB-BD31-4B8C-83A1-F6EECF244321}">
                <p14:modId xmlns:p14="http://schemas.microsoft.com/office/powerpoint/2010/main" val="3512412628"/>
              </p:ext>
            </p:extLst>
          </p:nvPr>
        </p:nvGraphicFramePr>
        <p:xfrm>
          <a:off x="640080" y="1005840"/>
          <a:ext cx="10972800" cy="21945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247485498"/>
      </p:ext>
    </p:extLst>
  </p:cSld>
  <p:clrMapOvr>
    <a:masterClrMapping/>
  </p:clrMapOvr>
  <p:transition spd="slow"/>
</p:sld>
</file>

<file path=ppt/slides/slide14.xml><?xml version="1.0" encoding="utf-8"?>
<p:sld xmlns:a16="http://schemas.microsoft.com/office/drawing/2014/main" xmlns:a14="http://schemas.microsoft.com/office/drawing/2010/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a:solidFill>
                  <a:srgbClr val="000000"/>
                </a:solidFill>
                <a:latin typeface="Segoe UI Semibold" panose="020B0702040204020203" pitchFamily="34" charset="0"/>
              </a:rPr>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a:t>Parameter Attribut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6"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extLst>
    <p:ext uri="{6950BFC3-D8DA-4A85-94F7-54DA5524770B}">
      <p188:commentRel xmlns:p188="http://schemas.microsoft.com/office/powerpoint/2018/8/main" r:id="rId5"/>
    </p:ext>
  </p:extLst>
</p:sld>
</file>

<file path=ppt/slides/slide1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4777311"/>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Validation Attributes</a:t>
            </a:r>
            <a:endParaRPr lang="en-AU"/>
          </a:p>
        </p:txBody>
      </p:sp>
      <p:graphicFrame>
        <p:nvGraphicFramePr>
          <p:cNvPr id="4" name="Content Placeholder 3">
            <a:extLst>
              <a:ext uri="{FF2B5EF4-FFF2-40B4-BE49-F238E27FC236}">
                <a16:creationId xmlns:a16="http://schemas.microsoft.com/office/drawing/2014/main" id="{B21FDB19-1260-4031-B557-015C70741C78}"/>
              </a:ext>
            </a:extLst>
          </p:cNvPr>
          <p:cNvGraphicFramePr>
            <a:graphicFrameLocks noGrp="1"/>
          </p:cNvGraphicFramePr>
          <p:nvPr>
            <p:ph sz="quarter" idx="13"/>
            <p:extLst>
              <p:ext uri="{D42A27DB-BD31-4B8C-83A1-F6EECF244321}">
                <p14:modId xmlns:p14="http://schemas.microsoft.com/office/powerpoint/2010/main" val="1421920144"/>
              </p:ext>
            </p:extLst>
          </p:nvPr>
        </p:nvGraphicFramePr>
        <p:xfrm>
          <a:off x="640080" y="1005840"/>
          <a:ext cx="10972800" cy="2286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 name="Diagram 6">
            <a:extLst>
              <a:ext uri="{FF2B5EF4-FFF2-40B4-BE49-F238E27FC236}">
                <a16:creationId xmlns:a16="http://schemas.microsoft.com/office/drawing/2014/main" id="{465E6EE7-B2EC-4BC8-8EF1-3DE5BCBC3FFF}"/>
              </a:ext>
            </a:extLst>
          </p:cNvPr>
          <p:cNvGraphicFramePr/>
          <p:nvPr>
            <p:extLst>
              <p:ext uri="{D42A27DB-BD31-4B8C-83A1-F6EECF244321}">
                <p14:modId xmlns:p14="http://schemas.microsoft.com/office/powerpoint/2010/main" val="1686696186"/>
              </p:ext>
            </p:extLst>
          </p:nvPr>
        </p:nvGraphicFramePr>
        <p:xfrm>
          <a:off x="640080" y="3474720"/>
          <a:ext cx="4572000" cy="32004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7" name="Diagram 26">
            <a:extLst>
              <a:ext uri="{FF2B5EF4-FFF2-40B4-BE49-F238E27FC236}">
                <a16:creationId xmlns:a16="http://schemas.microsoft.com/office/drawing/2014/main" id="{4D5E4497-53E5-400A-9D59-B2E7A72A6E93}"/>
              </a:ext>
            </a:extLst>
          </p:cNvPr>
          <p:cNvGraphicFramePr/>
          <p:nvPr>
            <p:extLst>
              <p:ext uri="{D42A27DB-BD31-4B8C-83A1-F6EECF244321}">
                <p14:modId xmlns:p14="http://schemas.microsoft.com/office/powerpoint/2010/main" val="9458991"/>
              </p:ext>
            </p:extLst>
          </p:nvPr>
        </p:nvGraphicFramePr>
        <p:xfrm>
          <a:off x="7040880" y="3474720"/>
          <a:ext cx="4572000" cy="32004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custDataLst>
      <p:tags r:id="rId1"/>
    </p:custDataLst>
    <p:extLst>
      <p:ext uri="{BB962C8B-B14F-4D97-AF65-F5344CB8AC3E}">
        <p14:creationId xmlns:p14="http://schemas.microsoft.com/office/powerpoint/2010/main" val="3597134556"/>
      </p:ext>
    </p:extLst>
  </p:cSld>
  <p:clrMapOvr>
    <a:masterClrMapping/>
  </p:clrMapOvr>
  <p:transition spd="slow"/>
  <p:extLst>
    <p:ext uri="{6950BFC3-D8DA-4A85-94F7-54DA5524770B}">
      <p188:commentRel xmlns:p188="http://schemas.microsoft.com/office/powerpoint/2018/8/main" r:id="rId4"/>
    </p:ext>
  </p:extLst>
</p:sld>
</file>

<file path=ppt/slides/slide17.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F28F3-54A6-4250-A166-6657F7CCBAEF}"/>
              </a:ext>
            </a:extLst>
          </p:cNvPr>
          <p:cNvSpPr>
            <a:spLocks noGrp="1"/>
          </p:cNvSpPr>
          <p:nvPr>
            <p:ph type="title"/>
          </p:nvPr>
        </p:nvSpPr>
        <p:spPr>
          <a:xfrm>
            <a:off x="655638" y="320040"/>
            <a:ext cx="10880725" cy="461665"/>
          </a:xfrm>
        </p:spPr>
        <p:txBody>
          <a:bodyPr/>
          <a:lstStyle/>
          <a:p>
            <a:r>
              <a:rPr lang="en-US" err="1"/>
              <a:t>ValidateSet</a:t>
            </a:r>
            <a:r>
              <a:rPr lang="en-US"/>
              <a:t>() Attribute</a:t>
            </a:r>
          </a:p>
        </p:txBody>
      </p:sp>
      <p:graphicFrame>
        <p:nvGraphicFramePr>
          <p:cNvPr id="4" name="Content Placeholder 3">
            <a:extLst>
              <a:ext uri="{FF2B5EF4-FFF2-40B4-BE49-F238E27FC236}">
                <a16:creationId xmlns:a16="http://schemas.microsoft.com/office/drawing/2014/main" id="{847EE73C-A57A-4EC3-A954-F1236BB9CB74}"/>
              </a:ext>
            </a:extLst>
          </p:cNvPr>
          <p:cNvGraphicFramePr>
            <a:graphicFrameLocks noGrp="1"/>
          </p:cNvGraphicFramePr>
          <p:nvPr>
            <p:ph sz="quarter" idx="13"/>
            <p:extLst>
              <p:ext uri="{D42A27DB-BD31-4B8C-83A1-F6EECF244321}">
                <p14:modId xmlns:p14="http://schemas.microsoft.com/office/powerpoint/2010/main" val="507653869"/>
              </p:ext>
            </p:extLst>
          </p:nvPr>
        </p:nvGraphicFramePr>
        <p:xfrm>
          <a:off x="640080" y="1005840"/>
          <a:ext cx="10972800" cy="2286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Code Box">
            <a:extLst>
              <a:ext uri="{FF2B5EF4-FFF2-40B4-BE49-F238E27FC236}">
                <a16:creationId xmlns:a16="http://schemas.microsoft.com/office/drawing/2014/main" id="{3924148B-4BBB-493F-B5E6-F753154E9CE8}"/>
              </a:ext>
            </a:extLst>
          </p:cNvPr>
          <p:cNvSpPr/>
          <p:nvPr>
            <p:custDataLst>
              <p:tags r:id="rId2"/>
            </p:custDataLst>
          </p:nvPr>
        </p:nvSpPr>
        <p:spPr>
          <a:xfrm>
            <a:off x="640080" y="3733800"/>
            <a:ext cx="10972800" cy="294132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Write-Hello</a:t>
            </a:r>
            <a:r>
              <a:rPr lang="en-US" sz="1800">
                <a:solidFill>
                  <a:srgbClr val="F5F5F5"/>
                </a:solidFill>
                <a:latin typeface="Lucida Console" panose="020B0609040504020204" pitchFamily="49" charset="0"/>
              </a:rPr>
              <a:t> {</a:t>
            </a:r>
          </a:p>
          <a:p>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50E6FF"/>
                </a:solidFill>
                <a:latin typeface="Lucida Console" panose="020B0609040504020204" pitchFamily="49" charset="0"/>
              </a:rPr>
              <a:t>ValidateSet</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Morning"</a:t>
            </a:r>
            <a:r>
              <a:rPr lang="en-US" sz="1800" err="1">
                <a:solidFill>
                  <a:srgbClr val="D3D3D3"/>
                </a:solidFill>
                <a:latin typeface="Lucida Console" panose="020B0609040504020204" pitchFamily="49" charset="0"/>
              </a:rPr>
              <a:t>,</a:t>
            </a:r>
            <a:r>
              <a:rPr lang="en-US" sz="1800" err="1">
                <a:solidFill>
                  <a:srgbClr val="DB7093"/>
                </a:solidFill>
                <a:latin typeface="Lucida Console" panose="020B0609040504020204" pitchFamily="49" charset="0"/>
              </a:rPr>
              <a:t>"Afternoon"</a:t>
            </a:r>
            <a:r>
              <a:rPr lang="en-US" sz="1800" err="1">
                <a:solidFill>
                  <a:srgbClr val="D3D3D3"/>
                </a:solidFill>
                <a:latin typeface="Lucida Console" panose="020B0609040504020204" pitchFamily="49" charset="0"/>
              </a:rPr>
              <a:t>,</a:t>
            </a:r>
            <a:r>
              <a:rPr lang="en-US" sz="1800" err="1">
                <a:solidFill>
                  <a:srgbClr val="DB7093"/>
                </a:solidFill>
                <a:latin typeface="Lucida Console" panose="020B0609040504020204" pitchFamily="49" charset="0"/>
              </a:rPr>
              <a:t>"Evening</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TimeOfDay</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Good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TimeOfDay</a:t>
            </a:r>
            <a:r>
              <a:rPr lang="en-US" sz="1800">
                <a:solidFill>
                  <a:srgbClr val="DB709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ello</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TimeOfDay</a:t>
            </a:r>
            <a:r>
              <a:rPr lang="en-US" sz="1800">
                <a:solidFill>
                  <a:srgbClr val="F5F5F5"/>
                </a:solidFill>
                <a:latin typeface="Lucida Console" panose="020B0609040504020204" pitchFamily="49" charset="0"/>
              </a:rPr>
              <a:t> </a:t>
            </a:r>
          </a:p>
        </p:txBody>
      </p:sp>
      <p:pic>
        <p:nvPicPr>
          <p:cNvPr id="10" name="Picture 9">
            <a:extLst>
              <a:ext uri="{FF2B5EF4-FFF2-40B4-BE49-F238E27FC236}">
                <a16:creationId xmlns:a16="http://schemas.microsoft.com/office/drawing/2014/main" id="{20C6BD81-B211-4960-A9A4-F8E056CE537C}"/>
              </a:ext>
            </a:extLst>
          </p:cNvPr>
          <p:cNvPicPr>
            <a:picLocks noChangeAspect="1"/>
          </p:cNvPicPr>
          <p:nvPr/>
        </p:nvPicPr>
        <p:blipFill>
          <a:blip r:embed="rId11"/>
          <a:stretch>
            <a:fillRect/>
          </a:stretch>
        </p:blipFill>
        <p:spPr>
          <a:xfrm>
            <a:off x="4480560" y="5943601"/>
            <a:ext cx="1061357" cy="731520"/>
          </a:xfrm>
          <a:prstGeom prst="rect">
            <a:avLst/>
          </a:prstGeom>
        </p:spPr>
      </p:pic>
    </p:spTree>
    <p:custDataLst>
      <p:tags r:id="rId1"/>
    </p:custDataLst>
    <p:extLst>
      <p:ext uri="{BB962C8B-B14F-4D97-AF65-F5344CB8AC3E}">
        <p14:creationId xmlns:p14="http://schemas.microsoft.com/office/powerpoint/2010/main" val="836303966"/>
      </p:ext>
    </p:extLst>
  </p:cSld>
  <p:clrMapOvr>
    <a:masterClrMapping/>
  </p:clrMapOvr>
  <p:transition spd="slow"/>
  <p:extLst>
    <p:ext uri="{6950BFC3-D8DA-4A85-94F7-54DA5524770B}">
      <p188:commentRel xmlns:p188="http://schemas.microsoft.com/office/powerpoint/2018/8/main" r:id="rId5"/>
    </p:ext>
  </p:extLst>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a:t>Numeric Validation Attributes</a:t>
            </a:r>
          </a:p>
        </p:txBody>
      </p:sp>
      <p:graphicFrame>
        <p:nvGraphicFramePr>
          <p:cNvPr id="5" name="Diagram 4">
            <a:extLst>
              <a:ext uri="{FF2B5EF4-FFF2-40B4-BE49-F238E27FC236}">
                <a16:creationId xmlns:a16="http://schemas.microsoft.com/office/drawing/2014/main" id="{5F9C3BDE-9FD9-4CAA-B582-1568F015BD7D}"/>
              </a:ext>
            </a:extLst>
          </p:cNvPr>
          <p:cNvGraphicFramePr/>
          <p:nvPr>
            <p:extLst>
              <p:ext uri="{D42A27DB-BD31-4B8C-83A1-F6EECF244321}">
                <p14:modId xmlns:p14="http://schemas.microsoft.com/office/powerpoint/2010/main" val="3079642083"/>
              </p:ext>
            </p:extLst>
          </p:nvPr>
        </p:nvGraphicFramePr>
        <p:xfrm>
          <a:off x="640079" y="1005840"/>
          <a:ext cx="4297680" cy="2103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 name="Diagram 1">
            <a:extLst>
              <a:ext uri="{FF2B5EF4-FFF2-40B4-BE49-F238E27FC236}">
                <a16:creationId xmlns:a16="http://schemas.microsoft.com/office/drawing/2014/main" id="{7F3CE839-8BF9-40C4-9768-A02DE1FEE5C5}"/>
              </a:ext>
            </a:extLst>
          </p:cNvPr>
          <p:cNvGraphicFramePr/>
          <p:nvPr>
            <p:extLst>
              <p:ext uri="{D42A27DB-BD31-4B8C-83A1-F6EECF244321}">
                <p14:modId xmlns:p14="http://schemas.microsoft.com/office/powerpoint/2010/main" val="2838967397"/>
              </p:ext>
            </p:extLst>
          </p:nvPr>
        </p:nvGraphicFramePr>
        <p:xfrm>
          <a:off x="5120640" y="822960"/>
          <a:ext cx="6437489" cy="23774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7" name="Code Box">
            <a:extLst>
              <a:ext uri="{FF2B5EF4-FFF2-40B4-BE49-F238E27FC236}">
                <a16:creationId xmlns:a16="http://schemas.microsoft.com/office/drawing/2014/main" id="{070693A1-62E7-423C-A235-D9950BC7BAA0}"/>
              </a:ext>
            </a:extLst>
          </p:cNvPr>
          <p:cNvSpPr/>
          <p:nvPr>
            <p:custDataLst>
              <p:tags r:id="rId2"/>
            </p:custDataLst>
          </p:nvPr>
        </p:nvSpPr>
        <p:spPr>
          <a:xfrm>
            <a:off x="640080" y="3200399"/>
            <a:ext cx="10972800" cy="356616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Rang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50E6FF"/>
                </a:solidFill>
                <a:latin typeface="Lucida Console" panose="020B0609040504020204" pitchFamily="49" charset="0"/>
              </a:rPr>
              <a:t>ValidateRange</a:t>
            </a:r>
            <a:r>
              <a:rPr lang="en-US" sz="1800">
                <a:solidFill>
                  <a:srgbClr val="F5F5F5"/>
                </a:solidFill>
                <a:latin typeface="Lucida Console" panose="020B0609040504020204" pitchFamily="49" charset="0"/>
              </a:rPr>
              <a:t>(</a:t>
            </a:r>
            <a:r>
              <a:rPr lang="en-US" sz="1800">
                <a:solidFill>
                  <a:srgbClr val="FFE4C4"/>
                </a:solidFill>
                <a:latin typeface="Lucida Console" panose="020B0609040504020204" pitchFamily="49" charset="0"/>
              </a:rPr>
              <a:t>2</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5</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a:t>
            </a:r>
            <a:r>
              <a:rPr lang="en-US" sz="1800">
                <a:latin typeface="Lucida Console" panose="020B0609040504020204" pitchFamily="49" charset="0"/>
              </a:rPr>
              <a:t> </a:t>
            </a:r>
            <a:r>
              <a:rPr lang="en-US" sz="1800">
                <a:solidFill>
                  <a:srgbClr val="F5F5F5"/>
                </a:solidFill>
                <a:latin typeface="Lucida Console" panose="020B0609040504020204" pitchFamily="49" charset="0"/>
              </a:rPr>
              <a:t>Test-Range 3</a:t>
            </a:r>
          </a:p>
          <a:p>
            <a:r>
              <a:rPr lang="en-US" sz="1800">
                <a:solidFill>
                  <a:srgbClr val="00FF00"/>
                </a:solidFill>
                <a:latin typeface="Lucida Console" panose="020B0609040504020204" pitchFamily="49" charset="0"/>
              </a:rPr>
              <a:t>3</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a:t>
            </a:r>
            <a:r>
              <a:rPr lang="en-US" sz="1800">
                <a:latin typeface="Lucida Console" panose="020B0609040504020204" pitchFamily="49" charset="0"/>
              </a:rPr>
              <a:t> </a:t>
            </a:r>
            <a:r>
              <a:rPr lang="en-US" sz="1800">
                <a:solidFill>
                  <a:srgbClr val="F5F5F5"/>
                </a:solidFill>
                <a:latin typeface="Lucida Console" panose="020B0609040504020204" pitchFamily="49" charset="0"/>
              </a:rPr>
              <a:t>Test-Range 6</a:t>
            </a:r>
          </a:p>
          <a:p>
            <a:r>
              <a:rPr lang="en-US" sz="1800">
                <a:solidFill>
                  <a:srgbClr val="FF9494"/>
                </a:solidFill>
                <a:latin typeface="Lucida Console" panose="020B0609040504020204" pitchFamily="49" charset="0"/>
              </a:rPr>
              <a:t>Test-Range : Cannot validate argument on parameter 'num'. The 6 argument is greater than the maximum allowed range of 5. Supply an argument that is less than or equal to 5 and then try the command again.</a:t>
            </a:r>
          </a:p>
        </p:txBody>
      </p:sp>
    </p:spTree>
    <p:custDataLst>
      <p:tags r:id="rId1"/>
    </p:custDataLst>
    <p:extLst>
      <p:ext uri="{BB962C8B-B14F-4D97-AF65-F5344CB8AC3E}">
        <p14:creationId xmlns:p14="http://schemas.microsoft.com/office/powerpoint/2010/main" val="2058050693"/>
      </p:ext>
    </p:extLst>
  </p:cSld>
  <p:clrMapOvr>
    <a:masterClrMapping/>
  </p:clrMapOvr>
  <p:transition spd="slow"/>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a:t>Pattern &amp; Script Validation Attributes</a:t>
            </a:r>
          </a:p>
        </p:txBody>
      </p:sp>
      <p:graphicFrame>
        <p:nvGraphicFramePr>
          <p:cNvPr id="5" name="Diagram 4">
            <a:extLst>
              <a:ext uri="{FF2B5EF4-FFF2-40B4-BE49-F238E27FC236}">
                <a16:creationId xmlns:a16="http://schemas.microsoft.com/office/drawing/2014/main" id="{5F9C3BDE-9FD9-4CAA-B582-1568F015BD7D}"/>
              </a:ext>
            </a:extLst>
          </p:cNvPr>
          <p:cNvGraphicFramePr/>
          <p:nvPr>
            <p:extLst>
              <p:ext uri="{D42A27DB-BD31-4B8C-83A1-F6EECF244321}">
                <p14:modId xmlns:p14="http://schemas.microsoft.com/office/powerpoint/2010/main" val="4120415217"/>
              </p:ext>
            </p:extLst>
          </p:nvPr>
        </p:nvGraphicFramePr>
        <p:xfrm>
          <a:off x="640078" y="1005839"/>
          <a:ext cx="5212080" cy="21031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Code Box">
            <a:extLst>
              <a:ext uri="{FF2B5EF4-FFF2-40B4-BE49-F238E27FC236}">
                <a16:creationId xmlns:a16="http://schemas.microsoft.com/office/drawing/2014/main" id="{070693A1-62E7-423C-A235-D9950BC7BAA0}"/>
              </a:ext>
            </a:extLst>
          </p:cNvPr>
          <p:cNvSpPr/>
          <p:nvPr>
            <p:custDataLst>
              <p:tags r:id="rId2"/>
            </p:custDataLst>
          </p:nvPr>
        </p:nvSpPr>
        <p:spPr>
          <a:xfrm>
            <a:off x="640080" y="3200399"/>
            <a:ext cx="10972800" cy="3566160"/>
          </a:xfrm>
          <a:prstGeom prst="rect">
            <a:avLst/>
          </a:prstGeom>
          <a:solidFill>
            <a:srgbClr val="012456"/>
          </a:solidFill>
        </p:spPr>
        <p:txBody>
          <a:bodyPr wrap="square" tIns="91440" bIns="91440">
            <a:noAutofit/>
          </a:bodyPr>
          <a:lstStyle/>
          <a:p>
            <a:r>
              <a:rPr lang="en-US" sz="1800" dirty="0">
                <a:solidFill>
                  <a:srgbClr val="E0FFFF"/>
                </a:solidFill>
                <a:latin typeface="Lucida Console" panose="020B0609040504020204" pitchFamily="49" charset="0"/>
              </a:rPr>
              <a:t>Function</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Test-Pattern</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param</a:t>
            </a:r>
            <a:r>
              <a:rPr lang="en-US" sz="1800" dirty="0">
                <a:solidFill>
                  <a:srgbClr val="F5F5F5"/>
                </a:solidFill>
                <a:latin typeface="Lucida Console" panose="020B0609040504020204" pitchFamily="49" charset="0"/>
              </a:rPr>
              <a:t>(</a:t>
            </a:r>
            <a:r>
              <a:rPr lang="en-US" sz="1800" dirty="0">
                <a:solidFill>
                  <a:srgbClr val="D3D3D3"/>
                </a:solidFill>
                <a:latin typeface="Lucida Console" panose="020B0609040504020204" pitchFamily="49" charset="0"/>
              </a:rPr>
              <a:t>[</a:t>
            </a:r>
            <a:r>
              <a:rPr lang="en-US" sz="1800" dirty="0" err="1">
                <a:solidFill>
                  <a:srgbClr val="50E6FF"/>
                </a:solidFill>
                <a:latin typeface="Lucida Console" panose="020B0609040504020204" pitchFamily="49" charset="0"/>
              </a:rPr>
              <a:t>ValidatePattern</a:t>
            </a:r>
            <a:r>
              <a:rPr lang="en-US" sz="1800" dirty="0">
                <a:solidFill>
                  <a:srgbClr val="F5F5F5"/>
                </a:solidFill>
                <a:latin typeface="Lucida Console" panose="020B0609040504020204" pitchFamily="49" charset="0"/>
              </a:rPr>
              <a:t>(</a:t>
            </a:r>
            <a:r>
              <a:rPr lang="en-US" sz="1800" dirty="0">
                <a:solidFill>
                  <a:srgbClr val="DB7093"/>
                </a:solidFill>
                <a:latin typeface="Lucida Console" panose="020B0609040504020204" pitchFamily="49" charset="0"/>
              </a:rPr>
              <a:t>"\w{2}\d{4}"</a:t>
            </a:r>
            <a:r>
              <a:rPr lang="en-US" sz="1800" dirty="0">
                <a:solidFill>
                  <a:srgbClr val="F5F5F5"/>
                </a:solidFill>
                <a:latin typeface="Lucida Console" panose="020B0609040504020204" pitchFamily="49" charset="0"/>
              </a:rPr>
              <a:t>)</a:t>
            </a:r>
            <a:r>
              <a:rPr lang="en-US" sz="1800" dirty="0">
                <a:solidFill>
                  <a:srgbClr val="D3D3D3"/>
                </a:solidFill>
                <a:latin typeface="Lucida Console" panose="020B0609040504020204" pitchFamily="49" charset="0"/>
              </a:rPr>
              <a:t>]</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UserName</a:t>
            </a:r>
            <a:r>
              <a:rPr lang="en-US" sz="1800" dirty="0">
                <a:solidFill>
                  <a:srgbClr val="F5F5F5"/>
                </a:solidFill>
                <a:latin typeface="Lucida Console" panose="020B0609040504020204" pitchFamily="49" charset="0"/>
              </a:rPr>
              <a:t>)</a:t>
            </a:r>
          </a:p>
          <a:p>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Write-Host</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UserName</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a:t>
            </a:r>
            <a:r>
              <a:rPr lang="en-US" sz="1800" dirty="0" err="1">
                <a:solidFill>
                  <a:srgbClr val="FFE4B5"/>
                </a:solidFill>
                <a:latin typeface="Lucida Console" panose="020B0609040504020204" pitchFamily="49" charset="0"/>
              </a:rPr>
              <a:t>ForegroundColor</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Green</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a:t>
            </a: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PS&gt; </a:t>
            </a:r>
            <a:r>
              <a:rPr lang="en-US" sz="1800" dirty="0">
                <a:solidFill>
                  <a:srgbClr val="E0FFFF"/>
                </a:solidFill>
                <a:latin typeface="Lucida Console" panose="020B0609040504020204" pitchFamily="49" charset="0"/>
              </a:rPr>
              <a:t>Test-Pattern</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JD1875 </a:t>
            </a:r>
          </a:p>
          <a:p>
            <a:r>
              <a:rPr lang="en-US" sz="1800" dirty="0">
                <a:solidFill>
                  <a:srgbClr val="00FF00"/>
                </a:solidFill>
                <a:latin typeface="Lucida Console" panose="020B0609040504020204" pitchFamily="49" charset="0"/>
              </a:rPr>
              <a:t>JD1875</a:t>
            </a: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PS&gt; </a:t>
            </a:r>
            <a:r>
              <a:rPr lang="en-US" sz="1800" dirty="0">
                <a:solidFill>
                  <a:srgbClr val="E0FFFF"/>
                </a:solidFill>
                <a:latin typeface="Lucida Console" panose="020B0609040504020204" pitchFamily="49" charset="0"/>
              </a:rPr>
              <a:t>Test-Pattern</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John5</a:t>
            </a:r>
          </a:p>
          <a:p>
            <a:r>
              <a:rPr lang="en-US" sz="1800" dirty="0">
                <a:solidFill>
                  <a:srgbClr val="FF9494"/>
                </a:solidFill>
                <a:latin typeface="Lucida Console" panose="020B0609040504020204" pitchFamily="49" charset="0"/>
              </a:rPr>
              <a:t>Test-Pattern : Cannot validate argument on parameter '</a:t>
            </a:r>
            <a:r>
              <a:rPr lang="en-US" sz="1800" dirty="0" err="1">
                <a:solidFill>
                  <a:srgbClr val="FF9494"/>
                </a:solidFill>
                <a:latin typeface="Lucida Console" panose="020B0609040504020204" pitchFamily="49" charset="0"/>
              </a:rPr>
              <a:t>UserName</a:t>
            </a:r>
            <a:r>
              <a:rPr lang="en-US" sz="1800" dirty="0">
                <a:solidFill>
                  <a:srgbClr val="FF9494"/>
                </a:solidFill>
                <a:latin typeface="Lucida Console" panose="020B0609040504020204" pitchFamily="49" charset="0"/>
              </a:rPr>
              <a:t>'. The argument "John5" does not match the "\w{2}\d{4}" pattern. Supply an argument that matches "\w{2}\d{4}" and try the command again.</a:t>
            </a:r>
          </a:p>
        </p:txBody>
      </p:sp>
      <p:graphicFrame>
        <p:nvGraphicFramePr>
          <p:cNvPr id="8" name="Diagram 7">
            <a:extLst>
              <a:ext uri="{FF2B5EF4-FFF2-40B4-BE49-F238E27FC236}">
                <a16:creationId xmlns:a16="http://schemas.microsoft.com/office/drawing/2014/main" id="{FFC63A07-72B1-4313-98CC-03728DE61CAA}"/>
              </a:ext>
            </a:extLst>
          </p:cNvPr>
          <p:cNvGraphicFramePr/>
          <p:nvPr>
            <p:extLst>
              <p:ext uri="{D42A27DB-BD31-4B8C-83A1-F6EECF244321}">
                <p14:modId xmlns:p14="http://schemas.microsoft.com/office/powerpoint/2010/main" val="698775429"/>
              </p:ext>
            </p:extLst>
          </p:nvPr>
        </p:nvGraphicFramePr>
        <p:xfrm>
          <a:off x="6035040" y="781705"/>
          <a:ext cx="5577840" cy="232725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6" name="Rectangle: Rounded Corners 5">
            <a:extLst>
              <a:ext uri="{FF2B5EF4-FFF2-40B4-BE49-F238E27FC236}">
                <a16:creationId xmlns:a16="http://schemas.microsoft.com/office/drawing/2014/main" id="{D82E2689-D35E-4E42-944C-E26B472C9C28}"/>
              </a:ext>
            </a:extLst>
          </p:cNvPr>
          <p:cNvSpPr/>
          <p:nvPr/>
        </p:nvSpPr>
        <p:spPr bwMode="auto">
          <a:xfrm>
            <a:off x="8432800" y="3381022"/>
            <a:ext cx="2991556" cy="1216328"/>
          </a:xfrm>
          <a:prstGeom prst="roundRect">
            <a:avLst/>
          </a:prstGeom>
          <a:solidFill>
            <a:schemeClr val="accent5">
              <a:lumMod val="75000"/>
            </a:schemeClr>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u="sng">
                <a:gradFill>
                  <a:gsLst>
                    <a:gs pos="0">
                      <a:srgbClr val="FFFFFF"/>
                    </a:gs>
                    <a:gs pos="100000">
                      <a:srgbClr val="FFFFFF"/>
                    </a:gs>
                  </a:gsLst>
                  <a:lin ang="5400000" scaled="0"/>
                </a:gradFill>
                <a:ea typeface="Segoe UI" pitchFamily="34" charset="0"/>
                <a:cs typeface="Segoe UI" pitchFamily="34" charset="0"/>
              </a:rPr>
              <a:t>Regular Expression</a:t>
            </a:r>
          </a:p>
          <a:p>
            <a:pPr marL="342900" indent="-342900" defTabSz="932472" fontAlgn="base">
              <a:spcBef>
                <a:spcPct val="0"/>
              </a:spcBef>
              <a:spcAft>
                <a:spcPct val="0"/>
              </a:spcAft>
              <a:buFont typeface="Arial" panose="020B0604020202020204" pitchFamily="34" charset="0"/>
              <a:buChar char="•"/>
            </a:pPr>
            <a:r>
              <a:rPr lang="en-US" sz="2000">
                <a:gradFill>
                  <a:gsLst>
                    <a:gs pos="0">
                      <a:srgbClr val="FFFFFF"/>
                    </a:gs>
                    <a:gs pos="100000">
                      <a:srgbClr val="FFFFFF"/>
                    </a:gs>
                  </a:gsLst>
                  <a:lin ang="5400000" scaled="0"/>
                </a:gradFill>
                <a:ea typeface="Segoe UI" pitchFamily="34" charset="0"/>
                <a:cs typeface="Segoe UI" pitchFamily="34" charset="0"/>
              </a:rPr>
              <a:t>2 “word characters”</a:t>
            </a:r>
          </a:p>
          <a:p>
            <a:pPr marL="342900" indent="-342900" defTabSz="932472" fontAlgn="base">
              <a:spcBef>
                <a:spcPct val="0"/>
              </a:spcBef>
              <a:spcAft>
                <a:spcPct val="0"/>
              </a:spcAft>
              <a:buFont typeface="Arial" panose="020B0604020202020204" pitchFamily="34" charset="0"/>
              <a:buChar char="•"/>
            </a:pPr>
            <a:r>
              <a:rPr lang="en-US" sz="2000">
                <a:gradFill>
                  <a:gsLst>
                    <a:gs pos="0">
                      <a:srgbClr val="FFFFFF"/>
                    </a:gs>
                    <a:gs pos="100000">
                      <a:srgbClr val="FFFFFF"/>
                    </a:gs>
                  </a:gsLst>
                  <a:lin ang="5400000" scaled="0"/>
                </a:gradFill>
                <a:ea typeface="Segoe UI" pitchFamily="34" charset="0"/>
                <a:cs typeface="Segoe UI" pitchFamily="34" charset="0"/>
              </a:rPr>
              <a:t>4 digits</a:t>
            </a:r>
          </a:p>
        </p:txBody>
      </p:sp>
    </p:spTree>
    <p:custDataLst>
      <p:tags r:id="rId1"/>
    </p:custDataLst>
    <p:extLst>
      <p:ext uri="{BB962C8B-B14F-4D97-AF65-F5344CB8AC3E}">
        <p14:creationId xmlns:p14="http://schemas.microsoft.com/office/powerpoint/2010/main" val="3726154376"/>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a:t>Null validation attributes</a:t>
            </a:r>
          </a:p>
        </p:txBody>
      </p:sp>
      <p:graphicFrame>
        <p:nvGraphicFramePr>
          <p:cNvPr id="5" name="Diagram 4">
            <a:extLst>
              <a:ext uri="{FF2B5EF4-FFF2-40B4-BE49-F238E27FC236}">
                <a16:creationId xmlns:a16="http://schemas.microsoft.com/office/drawing/2014/main" id="{5F9C3BDE-9FD9-4CAA-B582-1568F015BD7D}"/>
              </a:ext>
            </a:extLst>
          </p:cNvPr>
          <p:cNvGraphicFramePr/>
          <p:nvPr>
            <p:extLst>
              <p:ext uri="{D42A27DB-BD31-4B8C-83A1-F6EECF244321}">
                <p14:modId xmlns:p14="http://schemas.microsoft.com/office/powerpoint/2010/main" val="3915746425"/>
              </p:ext>
            </p:extLst>
          </p:nvPr>
        </p:nvGraphicFramePr>
        <p:xfrm>
          <a:off x="640078" y="1005840"/>
          <a:ext cx="438912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 name="Diagram 1">
            <a:extLst>
              <a:ext uri="{FF2B5EF4-FFF2-40B4-BE49-F238E27FC236}">
                <a16:creationId xmlns:a16="http://schemas.microsoft.com/office/drawing/2014/main" id="{D69881B0-814B-4753-9A0C-C47A84417BA9}"/>
              </a:ext>
            </a:extLst>
          </p:cNvPr>
          <p:cNvGraphicFramePr/>
          <p:nvPr>
            <p:extLst>
              <p:ext uri="{D42A27DB-BD31-4B8C-83A1-F6EECF244321}">
                <p14:modId xmlns:p14="http://schemas.microsoft.com/office/powerpoint/2010/main" val="2821185820"/>
              </p:ext>
            </p:extLst>
          </p:nvPr>
        </p:nvGraphicFramePr>
        <p:xfrm>
          <a:off x="5394960" y="1005839"/>
          <a:ext cx="6583680" cy="50292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custDataLst>
      <p:tags r:id="rId1"/>
    </p:custDataLst>
    <p:extLst>
      <p:ext uri="{BB962C8B-B14F-4D97-AF65-F5344CB8AC3E}">
        <p14:creationId xmlns:p14="http://schemas.microsoft.com/office/powerpoint/2010/main" val="38870530"/>
      </p:ext>
    </p:extLst>
  </p:cSld>
  <p:clrMapOvr>
    <a:masterClrMapping/>
  </p:clrMapOvr>
  <p:transition spd="slow"/>
  <p:extLst>
    <p:ext uri="{6950BFC3-D8DA-4A85-94F7-54DA5524770B}">
      <p188:commentRel xmlns:p188="http://schemas.microsoft.com/office/powerpoint/2018/8/main" r:id="rId4"/>
    </p:ext>
  </p:extLst>
</p:sld>
</file>

<file path=ppt/slides/slide2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a:solidFill>
                  <a:srgbClr val="000000"/>
                </a:solidFill>
                <a:latin typeface="Segoe UI Semibold" panose="020B0702040204020203" pitchFamily="34" charset="0"/>
              </a:rPr>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a:t>Parameter Validation</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812621327"/>
      </p:ext>
    </p:extLst>
  </p:cSld>
  <p:clrMapOvr>
    <a:masterClrMapping/>
  </p:clrMapOvr>
  <p:transition spd="slow"/>
</p:sld>
</file>

<file path=ppt/slides/slide2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84562001"/>
      </p:ext>
    </p:extLst>
  </p:cSld>
  <p:clrMapOvr>
    <a:masterClrMapping/>
  </p:clrMapOvr>
  <p:transition spd="slow"/>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lIns="0" tIns="0" rIns="0" bIns="0" anchor="ctr" anchorCtr="0"/>
          <a:lstStyle/>
          <a:p>
            <a:r>
              <a:rPr lang="en-US">
                <a:solidFill>
                  <a:srgbClr val="000000"/>
                </a:solidFill>
                <a:latin typeface="Segoe UI Semibold" panose="020B0702040204020203" pitchFamily="34" charset="0"/>
              </a:rPr>
              <a:t>Mastering Parameter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algn="ctr"/>
            <a:r>
              <a:rPr lang="en-US"/>
              <a:t>60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640717353"/>
      </p:ext>
    </p:extLst>
  </p:cSld>
  <p:clrMapOvr>
    <a:masterClrMapping/>
  </p:clrMapOvr>
  <p:transition spd="slow"/>
</p:sld>
</file>

<file path=ppt/slides/slide2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Topics Covered</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1728390432"/>
              </p:ext>
            </p:extLst>
          </p:nvPr>
        </p:nvGraphicFramePr>
        <p:xfrm>
          <a:off x="640080" y="1005840"/>
          <a:ext cx="109728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009553674"/>
      </p:ext>
    </p:extLst>
  </p:cSld>
  <p:clrMapOvr>
    <a:masterClrMapping/>
  </p:clrMapOvr>
  <p:transition spd="slow"/>
</p:sld>
</file>

<file path=ppt/slides/slide4.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Parameter Attribute</a:t>
            </a:r>
            <a:endParaRPr lang="en-AU"/>
          </a:p>
        </p:txBody>
      </p:sp>
      <p:graphicFrame>
        <p:nvGraphicFramePr>
          <p:cNvPr id="4" name="Content Placeholder 3">
            <a:extLst>
              <a:ext uri="{FF2B5EF4-FFF2-40B4-BE49-F238E27FC236}">
                <a16:creationId xmlns:a16="http://schemas.microsoft.com/office/drawing/2014/main" id="{5F369B96-6A26-460F-98E6-87511A648C95}"/>
              </a:ext>
            </a:extLst>
          </p:cNvPr>
          <p:cNvGraphicFramePr>
            <a:graphicFrameLocks noGrp="1"/>
          </p:cNvGraphicFramePr>
          <p:nvPr>
            <p:ph sz="quarter" idx="13"/>
            <p:extLst>
              <p:ext uri="{D42A27DB-BD31-4B8C-83A1-F6EECF244321}">
                <p14:modId xmlns:p14="http://schemas.microsoft.com/office/powerpoint/2010/main" val="2073367195"/>
              </p:ext>
            </p:extLst>
          </p:nvPr>
        </p:nvGraphicFramePr>
        <p:xfrm>
          <a:off x="640080" y="1005840"/>
          <a:ext cx="5029200" cy="5486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Code Box">
            <a:extLst>
              <a:ext uri="{FF2B5EF4-FFF2-40B4-BE49-F238E27FC236}">
                <a16:creationId xmlns:a16="http://schemas.microsoft.com/office/drawing/2014/main" id="{7A2054FB-270A-47D3-A208-679F30861119}"/>
              </a:ext>
            </a:extLst>
          </p:cNvPr>
          <p:cNvSpPr/>
          <p:nvPr>
            <p:custDataLst>
              <p:tags r:id="rId2"/>
            </p:custDataLst>
          </p:nvPr>
        </p:nvSpPr>
        <p:spPr>
          <a:xfrm>
            <a:off x="5852160" y="1005840"/>
            <a:ext cx="6126480" cy="5486400"/>
          </a:xfrm>
          <a:prstGeom prst="rect">
            <a:avLst/>
          </a:prstGeom>
          <a:solidFill>
            <a:srgbClr val="012456"/>
          </a:solidFill>
        </p:spPr>
        <p:txBody>
          <a:bodyPr wrap="square">
            <a:noAutofit/>
          </a:bodyPr>
          <a:lstStyle/>
          <a:p>
            <a:r>
              <a:rPr lang="en-US" sz="2000" b="0">
                <a:solidFill>
                  <a:schemeClr val="bg1"/>
                </a:solidFill>
                <a:latin typeface="Lucida Console" panose="020B0609040504020204" pitchFamily="49" charset="0"/>
              </a:rPr>
              <a:t>Param(</a:t>
            </a:r>
          </a:p>
          <a:p>
            <a:r>
              <a:rPr lang="en-US" sz="2000" b="0">
                <a:solidFill>
                  <a:prstClr val="black"/>
                </a:solidFill>
                <a:latin typeface="Lucida Console" panose="020B0609040504020204" pitchFamily="49" charset="0"/>
              </a:rPr>
              <a:t>  </a:t>
            </a:r>
            <a:r>
              <a:rPr lang="en-US" sz="2000" b="0">
                <a:solidFill>
                  <a:schemeClr val="bg1"/>
                </a:solidFill>
                <a:latin typeface="Lucida Console" panose="020B0609040504020204" pitchFamily="49" charset="0"/>
              </a:rPr>
              <a:t>[</a:t>
            </a:r>
            <a:r>
              <a:rPr lang="en-US" sz="2000" b="0">
                <a:solidFill>
                  <a:srgbClr val="50E6FF"/>
                </a:solidFill>
                <a:latin typeface="Lucida Console" panose="020B0609040504020204" pitchFamily="49" charset="0"/>
              </a:rPr>
              <a:t>Parameter</a:t>
            </a:r>
            <a:r>
              <a:rPr lang="en-US" sz="2000" b="0">
                <a:solidFill>
                  <a:schemeClr val="bg1"/>
                </a:solidFill>
                <a:latin typeface="Lucida Console" panose="020B0609040504020204" pitchFamily="49" charset="0"/>
              </a:rPr>
              <a:t>(</a:t>
            </a:r>
          </a:p>
          <a:p>
            <a:r>
              <a:rPr lang="en-US" sz="2000" b="0">
                <a:solidFill>
                  <a:schemeClr val="bg1"/>
                </a:solidFill>
                <a:latin typeface="Lucida Console" panose="020B0609040504020204" pitchFamily="49" charset="0"/>
              </a:rPr>
              <a:t>    Mandatory = </a:t>
            </a:r>
            <a:r>
              <a:rPr lang="en-AU" sz="2000" b="0">
                <a:solidFill>
                  <a:srgbClr val="FF4500"/>
                </a:solidFill>
                <a:latin typeface="Lucida Console" panose="020B0609040504020204" pitchFamily="49" charset="0"/>
              </a:rPr>
              <a:t>$true</a:t>
            </a:r>
            <a:r>
              <a:rPr lang="en-US" sz="2000" b="0">
                <a:solidFill>
                  <a:schemeClr val="bg1"/>
                </a:solidFill>
                <a:latin typeface="Lucida Console" panose="020B0609040504020204" pitchFamily="49" charset="0"/>
              </a:rPr>
              <a:t>,</a:t>
            </a:r>
          </a:p>
          <a:p>
            <a:r>
              <a:rPr lang="en-US" sz="2000" b="0">
                <a:solidFill>
                  <a:schemeClr val="bg1"/>
                </a:solidFill>
                <a:latin typeface="Lucida Console" panose="020B0609040504020204" pitchFamily="49" charset="0"/>
              </a:rPr>
              <a:t>    </a:t>
            </a:r>
            <a:r>
              <a:rPr lang="en-US" sz="2000" b="0" err="1">
                <a:solidFill>
                  <a:schemeClr val="bg1"/>
                </a:solidFill>
                <a:latin typeface="Lucida Console" panose="020B0609040504020204" pitchFamily="49" charset="0"/>
              </a:rPr>
              <a:t>HelpMessage</a:t>
            </a:r>
            <a:r>
              <a:rPr lang="en-US" sz="2000" b="0">
                <a:solidFill>
                  <a:schemeClr val="bg1"/>
                </a:solidFill>
                <a:latin typeface="Lucida Console" panose="020B0609040504020204" pitchFamily="49" charset="0"/>
              </a:rPr>
              <a:t> =</a:t>
            </a:r>
            <a:r>
              <a:rPr lang="en-US" sz="2000"/>
              <a:t> </a:t>
            </a:r>
            <a:r>
              <a:rPr lang="en-US" sz="1800">
                <a:solidFill>
                  <a:srgbClr val="DB7093"/>
                </a:solidFill>
                <a:latin typeface="Lucida Console" panose="020B0609040504020204" pitchFamily="49" charset="0"/>
              </a:rPr>
              <a:t>'Enter a username'</a:t>
            </a:r>
            <a:r>
              <a:rPr lang="en-US" sz="2000" b="0">
                <a:solidFill>
                  <a:schemeClr val="bg1"/>
                </a:solidFill>
                <a:latin typeface="Lucida Console" panose="020B0609040504020204" pitchFamily="49" charset="0"/>
              </a:rPr>
              <a:t>,</a:t>
            </a:r>
          </a:p>
          <a:p>
            <a:r>
              <a:rPr lang="en-US" sz="2000">
                <a:solidFill>
                  <a:schemeClr val="bg1"/>
                </a:solidFill>
                <a:latin typeface="Lucida Console" panose="020B0609040504020204" pitchFamily="49" charset="0"/>
              </a:rPr>
              <a:t>    </a:t>
            </a:r>
            <a:r>
              <a:rPr lang="en-US" sz="2000" b="0" err="1">
                <a:solidFill>
                  <a:schemeClr val="bg1"/>
                </a:solidFill>
                <a:latin typeface="Lucida Console" panose="020B0609040504020204" pitchFamily="49" charset="0"/>
              </a:rPr>
              <a:t>ValueFromPipeline</a:t>
            </a:r>
            <a:r>
              <a:rPr lang="en-US" sz="2000" b="0">
                <a:solidFill>
                  <a:schemeClr val="bg1"/>
                </a:solidFill>
                <a:latin typeface="Lucida Console" panose="020B0609040504020204" pitchFamily="49" charset="0"/>
              </a:rPr>
              <a:t> = </a:t>
            </a:r>
            <a:r>
              <a:rPr lang="en-AU" sz="2000" b="0">
                <a:solidFill>
                  <a:srgbClr val="FF4500"/>
                </a:solidFill>
                <a:latin typeface="Lucida Console" panose="020B0609040504020204" pitchFamily="49" charset="0"/>
              </a:rPr>
              <a:t>$true</a:t>
            </a:r>
            <a:r>
              <a:rPr lang="en-US" sz="2000" b="0">
                <a:solidFill>
                  <a:schemeClr val="bg1"/>
                </a:solidFill>
                <a:latin typeface="Lucida Console" panose="020B0609040504020204" pitchFamily="49" charset="0"/>
              </a:rPr>
              <a:t>,</a:t>
            </a:r>
          </a:p>
          <a:p>
            <a:r>
              <a:rPr lang="en-US" sz="2000">
                <a:solidFill>
                  <a:schemeClr val="bg1"/>
                </a:solidFill>
                <a:latin typeface="Lucida Console" panose="020B0609040504020204" pitchFamily="49" charset="0"/>
              </a:rPr>
              <a:t>    </a:t>
            </a:r>
            <a:r>
              <a:rPr lang="en-US" sz="2000" b="0" err="1">
                <a:solidFill>
                  <a:schemeClr val="bg1"/>
                </a:solidFill>
                <a:latin typeface="Lucida Console" panose="020B0609040504020204" pitchFamily="49" charset="0"/>
              </a:rPr>
              <a:t>ValueFromRemainingArguments</a:t>
            </a:r>
            <a:r>
              <a:rPr lang="en-US" sz="2000" b="0">
                <a:solidFill>
                  <a:schemeClr val="bg1"/>
                </a:solidFill>
                <a:latin typeface="Lucida Console" panose="020B0609040504020204" pitchFamily="49" charset="0"/>
              </a:rPr>
              <a:t> = </a:t>
            </a:r>
            <a:r>
              <a:rPr lang="en-AU" sz="2000" b="0">
                <a:solidFill>
                  <a:srgbClr val="FF4500"/>
                </a:solidFill>
                <a:latin typeface="Lucida Console" panose="020B0609040504020204" pitchFamily="49" charset="0"/>
              </a:rPr>
              <a:t>$true</a:t>
            </a:r>
          </a:p>
          <a:p>
            <a:r>
              <a:rPr lang="en-AU" sz="2000" b="0">
                <a:solidFill>
                  <a:srgbClr val="FF4500"/>
                </a:solidFill>
                <a:latin typeface="Lucida Console" panose="020B0609040504020204" pitchFamily="49" charset="0"/>
              </a:rPr>
              <a:t>  </a:t>
            </a:r>
            <a:r>
              <a:rPr lang="en-US" sz="2000" b="0">
                <a:solidFill>
                  <a:schemeClr val="bg1"/>
                </a:solidFill>
                <a:latin typeface="Lucida Console" panose="020B0609040504020204" pitchFamily="49" charset="0"/>
              </a:rPr>
              <a:t>)]</a:t>
            </a:r>
          </a:p>
          <a:p>
            <a:r>
              <a:rPr lang="en-US" sz="2000" b="0">
                <a:solidFill>
                  <a:srgbClr val="D2D2D2"/>
                </a:solidFill>
                <a:latin typeface="Lucida Console" panose="020B0609040504020204" pitchFamily="49" charset="0"/>
              </a:rPr>
              <a:t>  [</a:t>
            </a:r>
            <a:r>
              <a:rPr lang="en-US" sz="1800">
                <a:solidFill>
                  <a:srgbClr val="8FBC8F"/>
                </a:solidFill>
                <a:latin typeface="Lucida Console" panose="020B0609040504020204" pitchFamily="49" charset="0"/>
              </a:rPr>
              <a:t>String</a:t>
            </a:r>
            <a:r>
              <a:rPr lang="en-US" sz="2000" b="0">
                <a:solidFill>
                  <a:srgbClr val="D2D2D2"/>
                </a:solidFill>
                <a:latin typeface="Lucida Console" panose="020B0609040504020204" pitchFamily="49" charset="0"/>
              </a:rPr>
              <a:t>]</a:t>
            </a:r>
            <a:r>
              <a:rPr lang="en-AU" sz="2000" b="0">
                <a:solidFill>
                  <a:srgbClr val="FF4500"/>
                </a:solidFill>
                <a:latin typeface="Lucida Console" panose="020B0609040504020204" pitchFamily="49" charset="0"/>
              </a:rPr>
              <a:t>$username</a:t>
            </a:r>
          </a:p>
          <a:p>
            <a:r>
              <a:rPr lang="en-US" sz="2000" b="0">
                <a:solidFill>
                  <a:schemeClr val="bg1"/>
                </a:solidFill>
                <a:latin typeface="Lucida Console" panose="020B0609040504020204" pitchFamily="49" charset="0"/>
              </a:rPr>
              <a:t>)</a:t>
            </a:r>
            <a:endParaRPr lang="en-AU" sz="2000" b="0">
              <a:solidFill>
                <a:srgbClr val="EE82EE"/>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339254216"/>
      </p:ext>
    </p:extLst>
  </p:cSld>
  <p:clrMapOvr>
    <a:masterClrMapping/>
  </p:clrMapOvr>
  <p:transition spd="slow"/>
  <p:extLst>
    <p:ext uri="{6950BFC3-D8DA-4A85-94F7-54DA5524770B}">
      <p188:commentRel xmlns:p188="http://schemas.microsoft.com/office/powerpoint/2018/8/main" r:id="rId5"/>
    </p:ext>
  </p:extLst>
</p:sld>
</file>

<file path=ppt/slides/slide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B60B9-8D97-4B2F-BD77-7928B713EC25}"/>
              </a:ext>
            </a:extLst>
          </p:cNvPr>
          <p:cNvSpPr>
            <a:spLocks noGrp="1"/>
          </p:cNvSpPr>
          <p:nvPr>
            <p:ph type="title"/>
          </p:nvPr>
        </p:nvSpPr>
        <p:spPr/>
        <p:txBody>
          <a:bodyPr/>
          <a:lstStyle/>
          <a:p>
            <a:r>
              <a:rPr lang="en-US"/>
              <a:t>Mandatory and </a:t>
            </a:r>
            <a:r>
              <a:rPr lang="en-US" err="1"/>
              <a:t>HelpMessage</a:t>
            </a:r>
            <a:endParaRPr lang="en-US"/>
          </a:p>
        </p:txBody>
      </p:sp>
      <p:sp>
        <p:nvSpPr>
          <p:cNvPr id="3" name="Code Box">
            <a:extLst>
              <a:ext uri="{FF2B5EF4-FFF2-40B4-BE49-F238E27FC236}">
                <a16:creationId xmlns:a16="http://schemas.microsoft.com/office/drawing/2014/main" id="{0EE12E86-6E5D-48F0-B80F-20EBE303209E}"/>
              </a:ext>
            </a:extLst>
          </p:cNvPr>
          <p:cNvSpPr/>
          <p:nvPr>
            <p:custDataLst>
              <p:tags r:id="rId2"/>
            </p:custDataLst>
          </p:nvPr>
        </p:nvSpPr>
        <p:spPr>
          <a:xfrm>
            <a:off x="5852160" y="1005840"/>
            <a:ext cx="6126480" cy="5486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Mandatory</a:t>
            </a:r>
            <a:r>
              <a:rPr lang="en-US" sz="1800">
                <a:solidFill>
                  <a:srgbClr val="F5F5F5"/>
                </a:solidFill>
                <a:latin typeface="Lucida Console" panose="020B0609040504020204" pitchFamily="49" charset="0"/>
              </a:rPr>
              <a:t>{</a:t>
            </a:r>
          </a:p>
          <a:p>
            <a:r>
              <a:rPr lang="en-US" sz="1800">
                <a:solidFill>
                  <a:srgbClr val="E0FFFF"/>
                </a:solidFill>
                <a:latin typeface="Lucida Console" panose="020B0609040504020204" pitchFamily="49" charset="0"/>
              </a:rPr>
              <a:t> Param</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Mandatory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true</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HelpMessage</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Enter a use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UserNam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Write-Hos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Use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E0FFFF"/>
                </a:solidFill>
                <a:latin typeface="Lucida Console" panose="020B0609040504020204" pitchFamily="49" charset="0"/>
              </a:rPr>
              <a:t>PS&gt; Test-Mandatory</a:t>
            </a:r>
          </a:p>
          <a:p>
            <a:r>
              <a:rPr lang="en-US" sz="1800">
                <a:solidFill>
                  <a:srgbClr val="F5F5F5"/>
                </a:solidFill>
                <a:latin typeface="Lucida Console" panose="020B0609040504020204" pitchFamily="49" charset="0"/>
              </a:rPr>
              <a:t>Supply values for the following parameters:</a:t>
            </a:r>
          </a:p>
          <a:p>
            <a:r>
              <a:rPr lang="en-US" sz="1800">
                <a:solidFill>
                  <a:srgbClr val="F5F5F5"/>
                </a:solidFill>
                <a:latin typeface="Lucida Console" panose="020B0609040504020204" pitchFamily="49" charset="0"/>
              </a:rPr>
              <a:t>(Type !? for Help.)</a:t>
            </a:r>
          </a:p>
          <a:p>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UserName</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Enter a username</a:t>
            </a:r>
          </a:p>
          <a:p>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UserName</a:t>
            </a:r>
            <a:r>
              <a:rPr lang="en-US" sz="1800">
                <a:solidFill>
                  <a:srgbClr val="F5F5F5"/>
                </a:solidFill>
                <a:latin typeface="Lucida Console" panose="020B0609040504020204" pitchFamily="49" charset="0"/>
              </a:rPr>
              <a:t>: alpha</a:t>
            </a:r>
          </a:p>
          <a:p>
            <a:r>
              <a:rPr lang="en-US" sz="1800">
                <a:solidFill>
                  <a:srgbClr val="F5F5F5"/>
                </a:solidFill>
                <a:latin typeface="Lucida Console" panose="020B0609040504020204" pitchFamily="49" charset="0"/>
              </a:rPr>
              <a:t>alpha</a:t>
            </a:r>
          </a:p>
        </p:txBody>
      </p:sp>
      <p:graphicFrame>
        <p:nvGraphicFramePr>
          <p:cNvPr id="9" name="Diagram 8">
            <a:extLst>
              <a:ext uri="{FF2B5EF4-FFF2-40B4-BE49-F238E27FC236}">
                <a16:creationId xmlns:a16="http://schemas.microsoft.com/office/drawing/2014/main" id="{484138B8-E1EA-4320-AFFC-374584BF065F}"/>
              </a:ext>
            </a:extLst>
          </p:cNvPr>
          <p:cNvGraphicFramePr/>
          <p:nvPr>
            <p:extLst>
              <p:ext uri="{D42A27DB-BD31-4B8C-83A1-F6EECF244321}">
                <p14:modId xmlns:p14="http://schemas.microsoft.com/office/powerpoint/2010/main" val="598481592"/>
              </p:ext>
            </p:extLst>
          </p:nvPr>
        </p:nvGraphicFramePr>
        <p:xfrm>
          <a:off x="640080" y="1005840"/>
          <a:ext cx="45720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869881594"/>
      </p:ext>
    </p:extLst>
  </p:cSld>
  <p:clrMapOvr>
    <a:masterClrMapping/>
  </p:clrMapOvr>
  <p:transition spd="slow"/>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B60B9-8D97-4B2F-BD77-7928B713EC25}"/>
              </a:ext>
            </a:extLst>
          </p:cNvPr>
          <p:cNvSpPr>
            <a:spLocks noGrp="1"/>
          </p:cNvSpPr>
          <p:nvPr>
            <p:ph type="title"/>
          </p:nvPr>
        </p:nvSpPr>
        <p:spPr/>
        <p:txBody>
          <a:bodyPr/>
          <a:lstStyle/>
          <a:p>
            <a:r>
              <a:rPr lang="en-US"/>
              <a:t>Position</a:t>
            </a:r>
          </a:p>
        </p:txBody>
      </p:sp>
      <p:sp>
        <p:nvSpPr>
          <p:cNvPr id="3" name="Code Box">
            <a:extLst>
              <a:ext uri="{FF2B5EF4-FFF2-40B4-BE49-F238E27FC236}">
                <a16:creationId xmlns:a16="http://schemas.microsoft.com/office/drawing/2014/main" id="{0EE12E86-6E5D-48F0-B80F-20EBE303209E}"/>
              </a:ext>
            </a:extLst>
          </p:cNvPr>
          <p:cNvSpPr/>
          <p:nvPr>
            <p:custDataLst>
              <p:tags r:id="rId2"/>
            </p:custDataLst>
          </p:nvPr>
        </p:nvSpPr>
        <p:spPr>
          <a:xfrm>
            <a:off x="640080" y="3931920"/>
            <a:ext cx="4465320" cy="27432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Positio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 (</a:t>
            </a:r>
          </a:p>
          <a:p>
            <a:r>
              <a:rPr lang="en-US" sz="1800">
                <a:solidFill>
                  <a:srgbClr val="D3D3D3"/>
                </a:solidFill>
                <a:latin typeface="Lucida Console" panose="020B0609040504020204" pitchFamily="49" charset="0"/>
              </a:rPr>
              <a:t>    [</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1</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D3D3D3"/>
                </a:solidFill>
                <a:latin typeface="Lucida Console" panose="020B0609040504020204" pitchFamily="49" charset="0"/>
              </a:rPr>
              <a:t>    [</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Position</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0</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P2</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P1</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1</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P2</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2</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p:txBody>
      </p:sp>
      <p:graphicFrame>
        <p:nvGraphicFramePr>
          <p:cNvPr id="9" name="Diagram 8">
            <a:extLst>
              <a:ext uri="{FF2B5EF4-FFF2-40B4-BE49-F238E27FC236}">
                <a16:creationId xmlns:a16="http://schemas.microsoft.com/office/drawing/2014/main" id="{484138B8-E1EA-4320-AFFC-374584BF065F}"/>
              </a:ext>
            </a:extLst>
          </p:cNvPr>
          <p:cNvGraphicFramePr/>
          <p:nvPr>
            <p:extLst>
              <p:ext uri="{D42A27DB-BD31-4B8C-83A1-F6EECF244321}">
                <p14:modId xmlns:p14="http://schemas.microsoft.com/office/powerpoint/2010/main" val="1022707262"/>
              </p:ext>
            </p:extLst>
          </p:nvPr>
        </p:nvGraphicFramePr>
        <p:xfrm>
          <a:off x="640080" y="1005840"/>
          <a:ext cx="10972800" cy="27432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Code Box">
            <a:extLst>
              <a:ext uri="{FF2B5EF4-FFF2-40B4-BE49-F238E27FC236}">
                <a16:creationId xmlns:a16="http://schemas.microsoft.com/office/drawing/2014/main" id="{7E656016-FE81-4FDA-87F1-E1C9128B4C20}"/>
              </a:ext>
            </a:extLst>
          </p:cNvPr>
          <p:cNvSpPr/>
          <p:nvPr>
            <p:custDataLst>
              <p:tags r:id="rId3"/>
            </p:custDataLst>
          </p:nvPr>
        </p:nvSpPr>
        <p:spPr>
          <a:xfrm>
            <a:off x="5577840" y="3931920"/>
            <a:ext cx="6035040" cy="27432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PS&gt; Test-Position 1</a:t>
            </a:r>
          </a:p>
          <a:p>
            <a:r>
              <a:rPr lang="en-US" sz="1800">
                <a:solidFill>
                  <a:srgbClr val="E0FFFF"/>
                </a:solidFill>
                <a:latin typeface="Lucida Console" panose="020B0609040504020204" pitchFamily="49" charset="0"/>
              </a:rPr>
              <a:t>P1 </a:t>
            </a:r>
          </a:p>
          <a:p>
            <a:r>
              <a:rPr lang="en-US" sz="1800">
                <a:solidFill>
                  <a:srgbClr val="E0FFFF"/>
                </a:solidFill>
                <a:latin typeface="Lucida Console" panose="020B0609040504020204" pitchFamily="49" charset="0"/>
              </a:rPr>
              <a:t>P2 1</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2000"/>
              <a:t> </a:t>
            </a:r>
            <a:r>
              <a:rPr lang="en-US" sz="1800">
                <a:solidFill>
                  <a:srgbClr val="F5F5F5"/>
                </a:solidFill>
                <a:latin typeface="Lucida Console" panose="020B0609040504020204" pitchFamily="49" charset="0"/>
              </a:rPr>
              <a:t>Test-Position 1 2 </a:t>
            </a:r>
          </a:p>
          <a:p>
            <a:r>
              <a:rPr lang="en-US" sz="1800">
                <a:solidFill>
                  <a:srgbClr val="FF9494"/>
                </a:solidFill>
                <a:latin typeface="Lucida Console" panose="020B0609040504020204" pitchFamily="49" charset="0"/>
              </a:rPr>
              <a:t>Test-Position : A positional parameter cannot be found that accepts argument '2'.</a:t>
            </a:r>
          </a:p>
          <a:p>
            <a:r>
              <a:rPr lang="en-US" sz="1800">
                <a:solidFill>
                  <a:srgbClr val="FF9494"/>
                </a:solidFill>
                <a:latin typeface="Lucida Console" panose="020B0609040504020204" pitchFamily="49" charset="0"/>
              </a:rPr>
              <a:t>At line:1 char:1 </a:t>
            </a:r>
          </a:p>
        </p:txBody>
      </p:sp>
    </p:spTree>
    <p:custDataLst>
      <p:tags r:id="rId1"/>
    </p:custDataLst>
    <p:extLst>
      <p:ext uri="{BB962C8B-B14F-4D97-AF65-F5344CB8AC3E}">
        <p14:creationId xmlns:p14="http://schemas.microsoft.com/office/powerpoint/2010/main" val="2565933029"/>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818FE-5E02-4CC2-BE9A-5186E90F8526}"/>
              </a:ext>
            </a:extLst>
          </p:cNvPr>
          <p:cNvSpPr>
            <a:spLocks noGrp="1"/>
          </p:cNvSpPr>
          <p:nvPr>
            <p:ph type="title"/>
          </p:nvPr>
        </p:nvSpPr>
        <p:spPr/>
        <p:txBody>
          <a:bodyPr/>
          <a:lstStyle/>
          <a:p>
            <a:r>
              <a:rPr lang="en-US" err="1"/>
              <a:t>ParameterSetName</a:t>
            </a:r>
            <a:endParaRPr lang="en-US"/>
          </a:p>
        </p:txBody>
      </p:sp>
      <p:sp>
        <p:nvSpPr>
          <p:cNvPr id="3" name="Code Box">
            <a:extLst>
              <a:ext uri="{FF2B5EF4-FFF2-40B4-BE49-F238E27FC236}">
                <a16:creationId xmlns:a16="http://schemas.microsoft.com/office/drawing/2014/main" id="{9E2AFA09-5E05-47FA-A3E9-BE4CDD21A6A9}"/>
              </a:ext>
            </a:extLst>
          </p:cNvPr>
          <p:cNvSpPr/>
          <p:nvPr>
            <p:custDataLst>
              <p:tags r:id="rId2"/>
            </p:custDataLst>
          </p:nvPr>
        </p:nvSpPr>
        <p:spPr>
          <a:xfrm>
            <a:off x="4663440" y="1005840"/>
            <a:ext cx="7406640" cy="5486400"/>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ParamSets</a:t>
            </a:r>
            <a:r>
              <a:rPr lang="en-US" sz="1800">
                <a:solidFill>
                  <a:srgbClr val="F5F5F5"/>
                </a:solidFill>
                <a:latin typeface="Lucida Console" panose="020B0609040504020204" pitchFamily="49" charset="0"/>
              </a:rPr>
              <a:t> { </a:t>
            </a:r>
          </a:p>
          <a:p>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IP</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D3D3D3"/>
                </a:solidFill>
                <a:latin typeface="Lucida Console" panose="020B0609040504020204" pitchFamily="49" charset="0"/>
              </a:rPr>
              <a:t>    [</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ParameterSetName</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Machin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MachineName</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ParameterSetName</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 </a:t>
            </a:r>
            <a:r>
              <a:rPr lang="en-US" sz="1800">
                <a:solidFill>
                  <a:srgbClr val="DB7093"/>
                </a:solidFill>
                <a:latin typeface="Lucida Console" panose="020B0609040504020204" pitchFamily="49" charset="0"/>
              </a:rPr>
              <a:t>"User"</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UserNam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Get-Command</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ParamSets</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Syntax</a:t>
            </a:r>
          </a:p>
          <a:p>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ParamSets</a:t>
            </a:r>
            <a:r>
              <a:rPr lang="en-US" sz="1800">
                <a:solidFill>
                  <a:srgbClr val="F5F5F5"/>
                </a:solidFill>
                <a:latin typeface="Lucida Console" panose="020B0609040504020204" pitchFamily="49" charset="0"/>
              </a:rPr>
              <a:t> [-IP &lt;string[]&gt;] [-</a:t>
            </a:r>
            <a:r>
              <a:rPr lang="en-US" sz="1800" err="1">
                <a:solidFill>
                  <a:srgbClr val="F5F5F5"/>
                </a:solidFill>
                <a:latin typeface="Lucida Console" panose="020B0609040504020204" pitchFamily="49" charset="0"/>
              </a:rPr>
              <a:t>MachineName</a:t>
            </a:r>
            <a:r>
              <a:rPr lang="en-US" sz="1800">
                <a:solidFill>
                  <a:srgbClr val="F5F5F5"/>
                </a:solidFill>
                <a:latin typeface="Lucida Console" panose="020B0609040504020204" pitchFamily="49" charset="0"/>
              </a:rPr>
              <a:t> &lt;string[]&gt;]</a:t>
            </a:r>
          </a:p>
          <a:p>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ParamSets</a:t>
            </a:r>
            <a:r>
              <a:rPr lang="en-US" sz="1800">
                <a:solidFill>
                  <a:srgbClr val="F5F5F5"/>
                </a:solidFill>
                <a:latin typeface="Lucida Console" panose="020B0609040504020204" pitchFamily="49" charset="0"/>
              </a:rPr>
              <a:t> [-IP &lt;string[]&gt;] [-</a:t>
            </a:r>
            <a:r>
              <a:rPr lang="en-US" sz="1800" err="1">
                <a:solidFill>
                  <a:srgbClr val="F5F5F5"/>
                </a:solidFill>
                <a:latin typeface="Lucida Console" panose="020B0609040504020204" pitchFamily="49" charset="0"/>
              </a:rPr>
              <a:t>UserName</a:t>
            </a:r>
            <a:r>
              <a:rPr lang="en-US" sz="1800">
                <a:solidFill>
                  <a:srgbClr val="F5F5F5"/>
                </a:solidFill>
                <a:latin typeface="Lucida Console" panose="020B0609040504020204" pitchFamily="49" charset="0"/>
              </a:rPr>
              <a:t> &lt;string[]&gt;]</a:t>
            </a:r>
          </a:p>
        </p:txBody>
      </p:sp>
      <p:graphicFrame>
        <p:nvGraphicFramePr>
          <p:cNvPr id="10" name="Diagram 9">
            <a:extLst>
              <a:ext uri="{FF2B5EF4-FFF2-40B4-BE49-F238E27FC236}">
                <a16:creationId xmlns:a16="http://schemas.microsoft.com/office/drawing/2014/main" id="{9D86BC91-38BB-4CC5-AE9B-7878AD82DFAE}"/>
              </a:ext>
            </a:extLst>
          </p:cNvPr>
          <p:cNvGraphicFramePr/>
          <p:nvPr>
            <p:extLst>
              <p:ext uri="{D42A27DB-BD31-4B8C-83A1-F6EECF244321}">
                <p14:modId xmlns:p14="http://schemas.microsoft.com/office/powerpoint/2010/main" val="3299625633"/>
              </p:ext>
            </p:extLst>
          </p:nvPr>
        </p:nvGraphicFramePr>
        <p:xfrm>
          <a:off x="640080" y="1005840"/>
          <a:ext cx="374904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962167628"/>
      </p:ext>
    </p:extLst>
  </p:cSld>
  <p:clrMapOvr>
    <a:masterClrMapping/>
  </p:clrMapOvr>
  <p:transition spd="slow"/>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17E6D-41AE-40EC-8E2C-1394A833D262}"/>
              </a:ext>
            </a:extLst>
          </p:cNvPr>
          <p:cNvSpPr>
            <a:spLocks noGrp="1"/>
          </p:cNvSpPr>
          <p:nvPr>
            <p:ph type="title"/>
          </p:nvPr>
        </p:nvSpPr>
        <p:spPr>
          <a:xfrm>
            <a:off x="655638" y="320040"/>
            <a:ext cx="10880725" cy="461665"/>
          </a:xfrm>
        </p:spPr>
        <p:txBody>
          <a:bodyPr/>
          <a:lstStyle/>
          <a:p>
            <a:pPr lvl="0"/>
            <a:r>
              <a:rPr lang="en-US" sz="3200" baseline="0" err="1"/>
              <a:t>ValueFromPipeline</a:t>
            </a:r>
            <a:endParaRPr lang="en-US"/>
          </a:p>
        </p:txBody>
      </p:sp>
      <p:sp>
        <p:nvSpPr>
          <p:cNvPr id="5" name="Code Box">
            <a:extLst>
              <a:ext uri="{FF2B5EF4-FFF2-40B4-BE49-F238E27FC236}">
                <a16:creationId xmlns:a16="http://schemas.microsoft.com/office/drawing/2014/main" id="{A000310B-4532-4F07-8810-5095C1D640F1}"/>
              </a:ext>
            </a:extLst>
          </p:cNvPr>
          <p:cNvSpPr/>
          <p:nvPr>
            <p:custDataLst>
              <p:tags r:id="rId2"/>
            </p:custDataLst>
          </p:nvPr>
        </p:nvSpPr>
        <p:spPr>
          <a:xfrm>
            <a:off x="640080" y="1005840"/>
            <a:ext cx="5760720" cy="5724206"/>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ValueFromPiplin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a:t>
            </a:r>
          </a:p>
          <a:p>
            <a:r>
              <a:rPr lang="pt-BR" sz="1800">
                <a:solidFill>
                  <a:srgbClr val="F5F5F5"/>
                </a:solidFill>
                <a:latin typeface="Lucida Console" panose="020B0609040504020204" pitchFamily="49" charset="0"/>
              </a:rPr>
              <a:t> </a:t>
            </a:r>
            <a:r>
              <a:rPr lang="pt-BR" sz="1800">
                <a:solidFill>
                  <a:srgbClr val="E0FFFF"/>
                </a:solidFill>
                <a:latin typeface="Lucida Console" panose="020B0609040504020204" pitchFamily="49" charset="0"/>
              </a:rPr>
              <a:t>param</a:t>
            </a:r>
            <a:r>
              <a:rPr lang="pt-BR" sz="1800">
                <a:solidFill>
                  <a:srgbClr val="F5F5F5"/>
                </a:solidFill>
                <a:latin typeface="Lucida Console" panose="020B0609040504020204" pitchFamily="49" charset="0"/>
              </a:rPr>
              <a:t>(</a:t>
            </a:r>
            <a:r>
              <a:rPr lang="pt-BR" sz="1800">
                <a:solidFill>
                  <a:srgbClr val="D3D3D3"/>
                </a:solidFill>
                <a:latin typeface="Lucida Console" panose="020B0609040504020204" pitchFamily="49" charset="0"/>
              </a:rPr>
              <a:t>[</a:t>
            </a:r>
            <a:r>
              <a:rPr lang="pt-BR" sz="1800">
                <a:solidFill>
                  <a:srgbClr val="50E6FF"/>
                </a:solidFill>
                <a:latin typeface="Lucida Console" panose="020B0609040504020204" pitchFamily="49" charset="0"/>
              </a:rPr>
              <a:t>Parameter</a:t>
            </a:r>
            <a:r>
              <a:rPr lang="pt-BR" sz="1800">
                <a:solidFill>
                  <a:srgbClr val="F5F5F5"/>
                </a:solidFill>
                <a:latin typeface="Lucida Console" panose="020B0609040504020204" pitchFamily="49" charset="0"/>
              </a:rPr>
              <a:t>(ValueFromPipeline)</a:t>
            </a:r>
            <a:r>
              <a:rPr lang="pt-BR" sz="1800">
                <a:solidFill>
                  <a:srgbClr val="D3D3D3"/>
                </a:solidFill>
                <a:latin typeface="Lucida Console" panose="020B0609040504020204" pitchFamily="49" charset="0"/>
              </a:rPr>
              <a:t>]</a:t>
            </a:r>
          </a:p>
          <a:p>
            <a:r>
              <a:rPr lang="pt-BR" sz="1800">
                <a:solidFill>
                  <a:srgbClr val="D3D3D3"/>
                </a:solidFill>
                <a:latin typeface="Lucida Console" panose="020B0609040504020204" pitchFamily="49" charset="0"/>
              </a:rPr>
              <a:t>       [</a:t>
            </a:r>
            <a:r>
              <a:rPr lang="pt-BR" sz="1800">
                <a:solidFill>
                  <a:srgbClr val="8FBC8F"/>
                </a:solidFill>
                <a:latin typeface="Lucida Console" panose="020B0609040504020204" pitchFamily="49" charset="0"/>
              </a:rPr>
              <a:t>Int</a:t>
            </a:r>
            <a:r>
              <a:rPr lang="pt-BR" sz="1800">
                <a:solidFill>
                  <a:srgbClr val="D3D3D3"/>
                </a:solidFill>
                <a:latin typeface="Lucida Console" panose="020B0609040504020204" pitchFamily="49" charset="0"/>
              </a:rPr>
              <a:t>]</a:t>
            </a:r>
            <a:r>
              <a:rPr lang="pt-BR" sz="1800">
                <a:solidFill>
                  <a:srgbClr val="FF4500"/>
                </a:solidFill>
                <a:latin typeface="Lucida Console" panose="020B0609040504020204" pitchFamily="49" charset="0"/>
              </a:rPr>
              <a:t>$num</a:t>
            </a:r>
            <a:r>
              <a:rPr lang="pt-BR"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rocess</a:t>
            </a:r>
          </a:p>
          <a:p>
            <a:r>
              <a:rPr lang="en-US" sz="1800">
                <a:solidFill>
                  <a:srgbClr val="E0FFFF"/>
                </a:solidFill>
                <a:latin typeface="Lucida Console" panose="020B0609040504020204" pitchFamily="49" charset="0"/>
              </a:rPr>
              <a:t> </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p>
          <a:p>
            <a:r>
              <a:rPr lang="en-US" sz="1800">
                <a:solidFill>
                  <a:srgbClr val="EE82EE"/>
                </a:solidFill>
                <a:latin typeface="Lucida Console" panose="020B0609040504020204" pitchFamily="49" charset="0"/>
              </a:rPr>
              <a:t> </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E4C4"/>
                </a:solidFill>
                <a:latin typeface="Lucida Console" panose="020B0609040504020204" pitchFamily="49" charset="0"/>
              </a:rPr>
              <a:t>1</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2</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3"</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ValueFromPipline</a:t>
            </a:r>
            <a:endParaRPr lang="en-US" sz="1800">
              <a:solidFill>
                <a:srgbClr val="E0FFFF"/>
              </a:solidFill>
              <a:latin typeface="Lucida Console" panose="020B0609040504020204" pitchFamily="49" charset="0"/>
            </a:endParaRPr>
          </a:p>
          <a:p>
            <a:r>
              <a:rPr lang="en-US" sz="1800">
                <a:solidFill>
                  <a:srgbClr val="00FF00"/>
                </a:solidFill>
                <a:latin typeface="Lucida Console" panose="020B0609040504020204" pitchFamily="49" charset="0"/>
              </a:rPr>
              <a:t>1</a:t>
            </a:r>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2</a:t>
            </a:r>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3</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B7093"/>
                </a:solidFill>
                <a:latin typeface="Lucida Console" panose="020B0609040504020204" pitchFamily="49" charset="0"/>
              </a:rPr>
              <a:t>"Fail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ValueFromPipline</a:t>
            </a:r>
            <a:r>
              <a:rPr lang="en-US" sz="1800">
                <a:solidFill>
                  <a:srgbClr val="E0FFFF"/>
                </a:solidFill>
                <a:latin typeface="Lucida Console" panose="020B0609040504020204" pitchFamily="49" charset="0"/>
              </a:rPr>
              <a:t> </a:t>
            </a:r>
          </a:p>
          <a:p>
            <a:r>
              <a:rPr lang="en-US" sz="1800">
                <a:solidFill>
                  <a:srgbClr val="FF9494"/>
                </a:solidFill>
                <a:latin typeface="Lucida Console" panose="020B0609040504020204" pitchFamily="49" charset="0"/>
              </a:rPr>
              <a:t>Test-</a:t>
            </a:r>
            <a:r>
              <a:rPr lang="en-US" sz="1800" err="1">
                <a:solidFill>
                  <a:srgbClr val="FF9494"/>
                </a:solidFill>
                <a:latin typeface="Lucida Console" panose="020B0609040504020204" pitchFamily="49" charset="0"/>
              </a:rPr>
              <a:t>ValueFromPipline</a:t>
            </a:r>
            <a:r>
              <a:rPr lang="en-US" sz="1800">
                <a:solidFill>
                  <a:srgbClr val="FF9494"/>
                </a:solidFill>
                <a:latin typeface="Lucida Console" panose="020B0609040504020204" pitchFamily="49" charset="0"/>
              </a:rPr>
              <a:t> : The input object cannot be bound to any parameters for the command</a:t>
            </a:r>
            <a:endParaRPr lang="en-US" sz="1800">
              <a:solidFill>
                <a:srgbClr val="F5F5F5"/>
              </a:solidFill>
              <a:latin typeface="Lucida Console" panose="020B0609040504020204" pitchFamily="49" charset="0"/>
            </a:endParaRPr>
          </a:p>
        </p:txBody>
      </p:sp>
      <p:graphicFrame>
        <p:nvGraphicFramePr>
          <p:cNvPr id="4" name="Content Placeholder 3">
            <a:extLst>
              <a:ext uri="{FF2B5EF4-FFF2-40B4-BE49-F238E27FC236}">
                <a16:creationId xmlns:a16="http://schemas.microsoft.com/office/drawing/2014/main" id="{9ABB945D-B825-4964-938F-6E414FFEE80F}"/>
              </a:ext>
            </a:extLst>
          </p:cNvPr>
          <p:cNvGraphicFramePr>
            <a:graphicFrameLocks noGrp="1"/>
          </p:cNvGraphicFramePr>
          <p:nvPr>
            <p:ph sz="quarter" idx="13"/>
            <p:extLst>
              <p:ext uri="{D42A27DB-BD31-4B8C-83A1-F6EECF244321}">
                <p14:modId xmlns:p14="http://schemas.microsoft.com/office/powerpoint/2010/main" val="1619137800"/>
              </p:ext>
            </p:extLst>
          </p:nvPr>
        </p:nvGraphicFramePr>
        <p:xfrm>
          <a:off x="6476301" y="1005840"/>
          <a:ext cx="5464062" cy="57242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153541095"/>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17E6D-41AE-40EC-8E2C-1394A833D262}"/>
              </a:ext>
            </a:extLst>
          </p:cNvPr>
          <p:cNvSpPr>
            <a:spLocks noGrp="1"/>
          </p:cNvSpPr>
          <p:nvPr>
            <p:ph type="title"/>
          </p:nvPr>
        </p:nvSpPr>
        <p:spPr>
          <a:xfrm>
            <a:off x="655638" y="320040"/>
            <a:ext cx="10880725" cy="461665"/>
          </a:xfrm>
        </p:spPr>
        <p:txBody>
          <a:bodyPr/>
          <a:lstStyle/>
          <a:p>
            <a:pPr lvl="0"/>
            <a:r>
              <a:rPr lang="en-US" sz="3200" baseline="0" err="1"/>
              <a:t>ValueFromPipelineByPropertyName</a:t>
            </a:r>
            <a:endParaRPr lang="en-US"/>
          </a:p>
        </p:txBody>
      </p:sp>
      <p:sp>
        <p:nvSpPr>
          <p:cNvPr id="5" name="Code Box">
            <a:extLst>
              <a:ext uri="{FF2B5EF4-FFF2-40B4-BE49-F238E27FC236}">
                <a16:creationId xmlns:a16="http://schemas.microsoft.com/office/drawing/2014/main" id="{A000310B-4532-4F07-8810-5095C1D640F1}"/>
              </a:ext>
            </a:extLst>
          </p:cNvPr>
          <p:cNvSpPr/>
          <p:nvPr>
            <p:custDataLst>
              <p:tags r:id="rId2"/>
            </p:custDataLst>
          </p:nvPr>
        </p:nvSpPr>
        <p:spPr>
          <a:xfrm>
            <a:off x="640080" y="2483893"/>
            <a:ext cx="11247120" cy="4191226"/>
          </a:xfrm>
          <a:prstGeom prst="rect">
            <a:avLst/>
          </a:prstGeom>
          <a:solidFill>
            <a:srgbClr val="012456"/>
          </a:solidFill>
        </p:spPr>
        <p:txBody>
          <a:bodyPr wrap="square" tIns="91440" bIns="91440">
            <a:noAutofit/>
          </a:bodyPr>
          <a:lstStyle/>
          <a:p>
            <a:r>
              <a:rPr lang="en-US" sz="1800">
                <a:solidFill>
                  <a:srgbClr val="E0FFFF"/>
                </a:solidFill>
                <a:latin typeface="Lucida Console" panose="020B0609040504020204" pitchFamily="49" charset="0"/>
              </a:rPr>
              <a:t>Funct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st-</a:t>
            </a:r>
            <a:r>
              <a:rPr lang="en-US" sz="1800" err="1">
                <a:solidFill>
                  <a:srgbClr val="EE82EE"/>
                </a:solidFill>
                <a:latin typeface="Lucida Console" panose="020B0609040504020204" pitchFamily="49" charset="0"/>
              </a:rPr>
              <a:t>PipelineProperty</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aram</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Name</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tatus</a:t>
            </a:r>
            <a:r>
              <a:rPr lang="en-US" sz="1800">
                <a:solidFill>
                  <a:srgbClr val="D3D3D3"/>
                </a:solidFill>
                <a:latin typeface="Lucida Console" panose="020B0609040504020204" pitchFamily="49" charset="0"/>
              </a:rPr>
              <a: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50E6FF"/>
                </a:solidFill>
                <a:latin typeface="Lucida Console" panose="020B0609040504020204" pitchFamily="49" charset="0"/>
              </a:rPr>
              <a:t>Parameter</a:t>
            </a:r>
            <a:r>
              <a:rPr lang="en-US" sz="1800">
                <a:solidFill>
                  <a:srgbClr val="F5F5F5"/>
                </a:solidFill>
                <a:latin typeface="Lucida Console" panose="020B0609040504020204" pitchFamily="49" charset="0"/>
              </a:rPr>
              <a:t>(</a:t>
            </a:r>
            <a:r>
              <a:rPr lang="en-US" sz="1800" err="1">
                <a:solidFill>
                  <a:srgbClr val="F5F5F5"/>
                </a:solidFill>
                <a:latin typeface="Lucida Console" panose="020B0609040504020204" pitchFamily="49" charset="0"/>
              </a:rPr>
              <a:t>ValueFromPipelineByPropertyNam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StartType</a:t>
            </a:r>
            <a:endParaRPr lang="en-US" sz="1800">
              <a:solidFill>
                <a:srgbClr val="FF4500"/>
              </a:solidFill>
              <a:latin typeface="Lucida Console" panose="020B0609040504020204" pitchFamily="49" charset="0"/>
            </a:endParaRPr>
          </a:p>
          <a:p>
            <a:r>
              <a:rPr lang="en-US" sz="1800">
                <a:solidFill>
                  <a:srgbClr val="FF4500"/>
                </a:solidFill>
                <a:latin typeface="Lucida Console" panose="020B0609040504020204" pitchFamily="49" charset="0"/>
              </a:rPr>
              <a:t>  </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Process</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a:solidFill>
                  <a:srgbClr val="FF4500"/>
                </a:solidFill>
                <a:latin typeface="Lucida Console" panose="020B0609040504020204" pitchFamily="49" charset="0"/>
              </a:rPr>
              <a:t>$Name</a:t>
            </a:r>
            <a:r>
              <a:rPr lang="en-US" sz="1800">
                <a:solidFill>
                  <a:srgbClr val="DB7093"/>
                </a:solidFill>
                <a:latin typeface="Lucida Console" panose="020B0609040504020204" pitchFamily="49" charset="0"/>
              </a:rPr>
              <a:t> is </a:t>
            </a:r>
            <a:r>
              <a:rPr lang="en-US" sz="1800">
                <a:solidFill>
                  <a:srgbClr val="FF4500"/>
                </a:solidFill>
                <a:latin typeface="Lucida Console" panose="020B0609040504020204" pitchFamily="49" charset="0"/>
              </a:rPr>
              <a:t>$Status</a:t>
            </a:r>
            <a:r>
              <a:rPr lang="en-US" sz="1800">
                <a:solidFill>
                  <a:srgbClr val="DB7093"/>
                </a:solidFill>
                <a:latin typeface="Lucida Console" panose="020B0609040504020204" pitchFamily="49" charset="0"/>
              </a:rPr>
              <a:t> and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StartType</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 </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Get-service</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x*</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Test-</a:t>
            </a:r>
            <a:r>
              <a:rPr lang="en-US" sz="1800" err="1">
                <a:solidFill>
                  <a:srgbClr val="E0FFFF"/>
                </a:solidFill>
                <a:latin typeface="Lucida Console" panose="020B0609040504020204" pitchFamily="49" charset="0"/>
              </a:rPr>
              <a:t>PipelineProperty</a:t>
            </a:r>
            <a:endParaRPr lang="en-US" sz="1800">
              <a:solidFill>
                <a:srgbClr val="E0FFFF"/>
              </a:solidFill>
              <a:latin typeface="Lucida Console" panose="020B0609040504020204" pitchFamily="49" charset="0"/>
            </a:endParaRPr>
          </a:p>
          <a:p>
            <a:r>
              <a:rPr lang="en-US" sz="1800" err="1">
                <a:solidFill>
                  <a:srgbClr val="00FF00"/>
                </a:solidFill>
                <a:latin typeface="Lucida Console" panose="020B0609040504020204" pitchFamily="49" charset="0"/>
              </a:rPr>
              <a:t>XblAuthManager</a:t>
            </a:r>
            <a:r>
              <a:rPr lang="en-US" sz="1800">
                <a:solidFill>
                  <a:srgbClr val="00FF00"/>
                </a:solidFill>
                <a:latin typeface="Lucida Console" panose="020B0609040504020204" pitchFamily="49" charset="0"/>
              </a:rPr>
              <a:t> is Stopped and Manual</a:t>
            </a:r>
            <a:endParaRPr lang="en-US" sz="1800">
              <a:solidFill>
                <a:srgbClr val="F5F5F5"/>
              </a:solidFill>
              <a:latin typeface="Lucida Console" panose="020B0609040504020204" pitchFamily="49" charset="0"/>
            </a:endParaRPr>
          </a:p>
          <a:p>
            <a:r>
              <a:rPr lang="en-US" sz="1800" err="1">
                <a:solidFill>
                  <a:srgbClr val="00FF00"/>
                </a:solidFill>
                <a:latin typeface="Lucida Console" panose="020B0609040504020204" pitchFamily="49" charset="0"/>
              </a:rPr>
              <a:t>XblGameSave</a:t>
            </a:r>
            <a:r>
              <a:rPr lang="en-US" sz="1800">
                <a:solidFill>
                  <a:srgbClr val="00FF00"/>
                </a:solidFill>
                <a:latin typeface="Lucida Console" panose="020B0609040504020204" pitchFamily="49" charset="0"/>
              </a:rPr>
              <a:t> is Stopped and Manual</a:t>
            </a:r>
            <a:endParaRPr lang="en-US" sz="1800">
              <a:solidFill>
                <a:srgbClr val="F5F5F5"/>
              </a:solidFill>
              <a:latin typeface="Lucida Console" panose="020B0609040504020204" pitchFamily="49" charset="0"/>
            </a:endParaRPr>
          </a:p>
          <a:p>
            <a:r>
              <a:rPr lang="en-US" sz="1800" err="1">
                <a:solidFill>
                  <a:srgbClr val="00FF00"/>
                </a:solidFill>
                <a:latin typeface="Lucida Console" panose="020B0609040504020204" pitchFamily="49" charset="0"/>
              </a:rPr>
              <a:t>XboxGipSvc</a:t>
            </a:r>
            <a:r>
              <a:rPr lang="en-US" sz="1800">
                <a:solidFill>
                  <a:srgbClr val="00FF00"/>
                </a:solidFill>
                <a:latin typeface="Lucida Console" panose="020B0609040504020204" pitchFamily="49" charset="0"/>
              </a:rPr>
              <a:t> is Stopped and Manual</a:t>
            </a:r>
            <a:endParaRPr lang="en-US" sz="1800">
              <a:solidFill>
                <a:srgbClr val="F5F5F5"/>
              </a:solidFill>
              <a:latin typeface="Lucida Console" panose="020B0609040504020204" pitchFamily="49" charset="0"/>
            </a:endParaRPr>
          </a:p>
          <a:p>
            <a:r>
              <a:rPr lang="en-US" sz="1800" err="1">
                <a:solidFill>
                  <a:srgbClr val="00FF00"/>
                </a:solidFill>
                <a:latin typeface="Lucida Console" panose="020B0609040504020204" pitchFamily="49" charset="0"/>
              </a:rPr>
              <a:t>XboxNetApiSvc</a:t>
            </a:r>
            <a:r>
              <a:rPr lang="en-US" sz="1800">
                <a:solidFill>
                  <a:srgbClr val="00FF00"/>
                </a:solidFill>
                <a:latin typeface="Lucida Console" panose="020B0609040504020204" pitchFamily="49" charset="0"/>
              </a:rPr>
              <a:t> is Stopped and Manual</a:t>
            </a:r>
          </a:p>
          <a:p>
            <a:endParaRPr lang="en-US" sz="1800">
              <a:solidFill>
                <a:srgbClr val="F5F5F5"/>
              </a:solidFill>
              <a:latin typeface="Lucida Console" panose="020B0609040504020204" pitchFamily="49" charset="0"/>
            </a:endParaRPr>
          </a:p>
        </p:txBody>
      </p:sp>
      <p:graphicFrame>
        <p:nvGraphicFramePr>
          <p:cNvPr id="4" name="Content Placeholder 3">
            <a:extLst>
              <a:ext uri="{FF2B5EF4-FFF2-40B4-BE49-F238E27FC236}">
                <a16:creationId xmlns:a16="http://schemas.microsoft.com/office/drawing/2014/main" id="{4975C1BB-9666-4897-88A1-BC7419B7F4CB}"/>
              </a:ext>
            </a:extLst>
          </p:cNvPr>
          <p:cNvGraphicFramePr>
            <a:graphicFrameLocks noGrp="1"/>
          </p:cNvGraphicFramePr>
          <p:nvPr>
            <p:ph sz="quarter" idx="13"/>
            <p:extLst>
              <p:ext uri="{D42A27DB-BD31-4B8C-83A1-F6EECF244321}">
                <p14:modId xmlns:p14="http://schemas.microsoft.com/office/powerpoint/2010/main" val="1038669301"/>
              </p:ext>
            </p:extLst>
          </p:nvPr>
        </p:nvGraphicFramePr>
        <p:xfrm>
          <a:off x="579120" y="880947"/>
          <a:ext cx="11247120" cy="147196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1"/>
    </p:custDataLst>
    <p:extLst>
      <p:ext uri="{BB962C8B-B14F-4D97-AF65-F5344CB8AC3E}">
        <p14:creationId xmlns:p14="http://schemas.microsoft.com/office/powerpoint/2010/main" val="3659623250"/>
      </p:ext>
    </p:extLst>
  </p:cSld>
  <p:clrMapOvr>
    <a:masterClrMapping/>
  </p:clrMapOvr>
  <p:transition spd="slow"/>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255A3AB-A43B-4FB9-AAB5-3F0F215CF2F6}&lt;/SectionId&gt;&lt;Name&gt;WorkshopPLUS - Windows PowerShell: Tool Building&lt;/Name&gt;&lt;SlidesCount&gt;2&lt;/SlidesCount&gt;&lt;SlideGuids /&gt;&lt;/NativeSection&gt;&lt;NativeSection&gt;&lt;SectionId&gt;{7B5054B6-A008-45F3-B652-1081E59E62B6}&lt;/SectionId&gt;&lt;Name&gt;Parameter attribute&lt;/Name&gt;&lt;SlidesCount&gt;10&lt;/SlidesCount&gt;&lt;SlideGuids /&gt;&lt;/NativeSection&gt;&lt;NativeSection&gt;&lt;SectionId&gt;{D9F216FE-A770-4526-ADC3-CDB4CA8ACA0B}&lt;/SectionId&gt;&lt;Name&gt;Parameter validation&lt;/Name&gt;&lt;SlidesCount&gt;9&lt;/SlidesCount&gt;&lt;SlideGuids /&gt;&lt;/NativeSection&gt;&lt;NativeSection&gt;&lt;SectionId&gt;{D6B235E2-F7A0-484F-A875-608B83B07F95}&lt;/SectionId&gt;&lt;Name&gt;Risk Mitigation&lt;/Name&gt;&lt;SlidesCount&gt;7&lt;/SlidesCount&gt;&lt;SlideGuids /&gt;&lt;/NativeSection&gt;&lt;NativeSection&gt;&lt;SectionId&gt;{E8406602-96AA-47EA-9059-4E065D507854}&lt;/SectionId&gt;&lt;Name&gt;Help&lt;/Name&gt;&lt;SlidesCount&gt;3&lt;/SlidesCount&gt;&lt;SlideGuids /&gt;&lt;/NativeSection&gt;&lt;NativeSection&gt;&lt;SectionId&gt;{3C448D17-67A9-40D8-B184-B7E32FF85A31}&lt;/SectionId&gt;&lt;Name&gt;Output type&lt;/Name&gt;&lt;SlidesCount&gt;3&lt;/SlidesCount&gt;&lt;SlideGuids /&gt;&lt;/NativeSection&gt;&lt;NativeSection&gt;&lt;SectionId&gt;{6F8CB3A6-B6AF-4CAF-B261-75B2450A9880}&lt;/SectionId&gt;&lt;Name&gt;Lab&lt;/Name&gt;&lt;SlidesCount&gt;2&lt;/SlidesCount&gt;&lt;SlideGuids /&gt;&lt;/NativeSection&gt;&lt;/ArrayOfNativeSection&gt;"/>
  <p:tag name="MIO_EKGUID" val="59245efa-25d7-4021-b851-c6838ce63196"/>
  <p:tag name="MIO_UPDATE" val="True"/>
  <p:tag name="MIO_VERSION" val="02.03.2020 12:21:27"/>
  <p:tag name="MIO_DBID" val="12B0C59E-2253-4124-A5E9-470ADF4CB168"/>
  <p:tag name="MIO_LASTDOWNLOADED" val="02.03.2020 13:35:43"/>
  <p:tag name="MIO_OBJECTNAME" val="M03 Mastering Parameters"/>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11ad4c1f-7948-4608-b1d4-447b04252862"/>
  <p:tag name="MIO_EKGUID" val="83e15f9a-342e-4cef-a61b-83546a5a0e75"/>
  <p:tag name="MIO_UPDATE" val="True"/>
  <p:tag name="MIO_VERSION" val="02.03.2020 12:21:24"/>
  <p:tag name="MIO_DBID" val="12b0c59e-2253-4124-a5e9-470adf4cb168"/>
  <p:tag name="MIO_LASTDOWNLOADED" val="02.03.2020 12:35:37"/>
  <p:tag name="MIO_OBJECTNAME" val="Mastering parameters of advanced function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78f8cb6c-3e23-40cc-91f6-95056086bf10"/>
  <p:tag name="MIO_EKGUID" val="8a461123-9896-48af-97a5-b871e0132fe1"/>
  <p:tag name="MIO_UPDATE" val="True"/>
  <p:tag name="MIO_VERSION" val="02.03.2020 12:21:24"/>
  <p:tag name="MIO_DBID" val="12b0c59e-2253-4124-a5e9-470adf4cb168"/>
  <p:tag name="MIO_LASTDOWNLOADED" val="02.03.2020 12:35:38"/>
  <p:tag name="MIO_OBJECTNAME" val="Slide 2"/>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4e68380f-5ac0-4920-96da-bba418929e1e"/>
  <p:tag name="MIO_EKGUID" val="8decb1b1-01b8-4259-9b48-e0708f7ce8f9"/>
  <p:tag name="MIO_UPDATE" val="True"/>
  <p:tag name="MIO_VERSION" val="02.03.2020 12:21:24"/>
  <p:tag name="MIO_DBID" val="12b0c59e-2253-4124-a5e9-470adf4cb168"/>
  <p:tag name="MIO_LASTDOWNLOADED" val="02.03.2020 12:35:38"/>
  <p:tag name="MIO_OBJECTNAME" val="Parameter Attribut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c051a97c-88b9-4f43-9fc6-366e790fa33f"/>
  <p:tag name="MIO_EKGUID" val="da7b89e8-a6d5-4e56-ba13-f411b1944580"/>
  <p:tag name="MIO_UPDATE" val="True"/>
  <p:tag name="MIO_VERSION" val="02.03.2020 12:21:24"/>
  <p:tag name="MIO_DBID" val="12b0c59e-2253-4124-a5e9-470adf4cb168"/>
  <p:tag name="MIO_LASTDOWNLOADED" val="02.03.2020 12:35:38"/>
  <p:tag name="MIO_OBJECTNAME" val="Mandatory and position"/>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c051a97c-88b9-4f43-9fc6-366e790fa33f"/>
  <p:tag name="MIO_EKGUID" val="da7b89e8-a6d5-4e56-ba13-f411b1944580"/>
  <p:tag name="MIO_UPDATE" val="True"/>
  <p:tag name="MIO_VERSION" val="02.03.2020 12:21:24"/>
  <p:tag name="MIO_DBID" val="12b0c59e-2253-4124-a5e9-470adf4cb168"/>
  <p:tag name="MIO_LASTDOWNLOADED" val="02.03.2020 12:35:38"/>
  <p:tag name="MIO_OBJECTNAME" val="Mandatory and position"/>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de2de7e8-0d61-41f6-a0c6-e6bdf18d44fc"/>
  <p:tag name="MIO_EKGUID" val="5822029f-e56d-467b-b9ff-66b29b76e8f3"/>
  <p:tag name="MIO_UPDATE" val="True"/>
  <p:tag name="MIO_VERSION" val="02.03.2020 12:21:24"/>
  <p:tag name="MIO_DBID" val="12b0c59e-2253-4124-a5e9-470adf4cb168"/>
  <p:tag name="MIO_LASTDOWNLOADED" val="02.03.2020 12:35:38"/>
  <p:tag name="MIO_OBJECTNAME" val="ParameterSetNam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cbe0779-0711-4abf-908d-de5e6c3434f8"/>
  <p:tag name="MIO_EKGUID" val="114e1846-3bb8-4f9b-a057-1112f18220c7"/>
  <p:tag name="MIO_UPDATE" val="True"/>
  <p:tag name="MIO_VERSION" val="02.03.2020 12:21:25"/>
  <p:tag name="MIO_DBID" val="12b0c59e-2253-4124-a5e9-470adf4cb168"/>
  <p:tag name="MIO_LASTDOWNLOADED" val="02.03.2020 12:35:39"/>
  <p:tag name="MIO_OBJECTNAME" val="[Alias()] Attribute"/>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cbe0779-0711-4abf-908d-de5e6c3434f8"/>
  <p:tag name="MIO_EKGUID" val="114e1846-3bb8-4f9b-a057-1112f18220c7"/>
  <p:tag name="MIO_UPDATE" val="True"/>
  <p:tag name="MIO_VERSION" val="02.03.2020 12:21:25"/>
  <p:tag name="MIO_DBID" val="12b0c59e-2253-4124-a5e9-470adf4cb168"/>
  <p:tag name="MIO_LASTDOWNLOADED" val="02.03.2020 12:35:39"/>
  <p:tag name="MIO_OBJECTNAME" val="[Alias()] Attribut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ecbe0779-0711-4abf-908d-de5e6c3434f8"/>
  <p:tag name="MIO_EKGUID" val="114e1846-3bb8-4f9b-a057-1112f18220c7"/>
  <p:tag name="MIO_UPDATE" val="True"/>
  <p:tag name="MIO_VERSION" val="02.03.2020 12:21:25"/>
  <p:tag name="MIO_DBID" val="12b0c59e-2253-4124-a5e9-470adf4cb168"/>
  <p:tag name="MIO_LASTDOWNLOADED" val="02.03.2020 12:35:39"/>
  <p:tag name="MIO_OBJECTNAME" val="[Alias()] Attribut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cbe0779-0711-4abf-908d-de5e6c3434f8"/>
  <p:tag name="MIO_EKGUID" val="114e1846-3bb8-4f9b-a057-1112f18220c7"/>
  <p:tag name="MIO_UPDATE" val="True"/>
  <p:tag name="MIO_VERSION" val="02.03.2020 12:21:25"/>
  <p:tag name="MIO_DBID" val="12b0c59e-2253-4124-a5e9-470adf4cb168"/>
  <p:tag name="MIO_LASTDOWNLOADED" val="02.03.2020 12:35:39"/>
  <p:tag name="MIO_OBJECTNAME" val="[Alias()] Attribute"/>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7b0aeb2-7893-482b-9e82-abab03c752ce"/>
  <p:tag name="MIO_EKGUID" val="b65d2ecd-7f59-4d83-83e9-ed3707a7f4dc"/>
  <p:tag name="MIO_UPDATE" val="True"/>
  <p:tag name="MIO_VERSION" val="02.03.2020 12:21:24"/>
  <p:tag name="MIO_DBID" val="12b0c59e-2253-4124-a5e9-470adf4cb168"/>
  <p:tag name="MIO_LASTDOWNLOADED" val="02.03.2020 12:35:38"/>
  <p:tag name="MIO_OBJECTNAME" val="Value From Remaining Arguments cont."/>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77b0aeb2-7893-482b-9e82-abab03c752ce"/>
  <p:tag name="MIO_EKGUID" val="b65d2ecd-7f59-4d83-83e9-ed3707a7f4dc"/>
  <p:tag name="MIO_UPDATE" val="True"/>
  <p:tag name="MIO_VERSION" val="02.03.2020 12:21:24"/>
  <p:tag name="MIO_DBID" val="12b0c59e-2253-4124-a5e9-470adf4cb168"/>
  <p:tag name="MIO_LASTDOWNLOADED" val="02.03.2020 12:35:38"/>
  <p:tag name="MIO_OBJECTNAME" val="Value From Remaining Arguments cont."/>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e6c23313-8064-4d2f-b41c-e4132f2912c7"/>
  <p:tag name="MIO_UPDATE" val="True"/>
  <p:tag name="MIO_VERSION" val="02.03.2020 12:21:25"/>
  <p:tag name="MIO_DBID" val="12b0c59e-2253-4124-a5e9-470adf4cb168"/>
  <p:tag name="MIO_LASTDOWNLOADED" val="02.03.2020 12:35:3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a8470da-cd97-4e29-aa0e-15cdaf0e9352"/>
  <p:tag name="MIO_UPDATE" val="True"/>
  <p:tag name="MIO_VERSION" val="02.03.2020 12:21:25"/>
  <p:tag name="MIO_DBID" val="12b0c59e-2253-4124-a5e9-470adf4cb168"/>
  <p:tag name="MIO_LASTDOWNLOADED" val="02.03.2020 12:35:39"/>
  <p:tag name="MIO_OBJECTNAME" val="Question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c860835a-bcc3-42ba-b35a-d783cf8873e2"/>
  <p:tag name="MIO_EKGUID" val="b1eebab3-82ea-46c1-8301-78f13a58399f"/>
  <p:tag name="MIO_UPDATE" val="True"/>
  <p:tag name="MIO_VERSION" val="02.03.2020 12:21:25"/>
  <p:tag name="MIO_DBID" val="12b0c59e-2253-4124-a5e9-470adf4cb168"/>
  <p:tag name="MIO_LASTDOWNLOADED" val="02.03.2020 12:35:39"/>
  <p:tag name="MIO_OBJECTNAME" val="Parameter Validation Attribute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55ce04b5-bfc7-46e8-9520-6071a4ac6f85"/>
  <p:tag name="MIO_EKGUID" val="29b60aef-9d7d-44ad-8bc1-77fe6fe3356c"/>
  <p:tag name="MIO_UPDATE" val="True"/>
  <p:tag name="MIO_VERSION" val="02.03.2020 12:21:25"/>
  <p:tag name="MIO_DBID" val="12b0c59e-2253-4124-a5e9-470adf4cb168"/>
  <p:tag name="MIO_LASTDOWNLOADED" val="02.03.2020 12:35:39"/>
  <p:tag name="MIO_OBJECTNAME" val="[ValidateSet()] Attribute"/>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fe49e210-bffd-46cf-bbcc-0dc40c0eebfd"/>
  <p:tag name="MIO_UPDATE" val="True"/>
  <p:tag name="MIO_VERSION" val="02.03.2020 12:21:25"/>
  <p:tag name="MIO_DBID" val="12b0c59e-2253-4124-a5e9-470adf4cb168"/>
  <p:tag name="MIO_LASTDOWNLOADED" val="02.03.2020 12:35:39"/>
  <p:tag name="MIO_OBJECTNAME" val="Null validation attributes"/>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fe49e210-bffd-46cf-bbcc-0dc40c0eebfd"/>
  <p:tag name="MIO_UPDATE" val="True"/>
  <p:tag name="MIO_VERSION" val="02.03.2020 12:21:25"/>
  <p:tag name="MIO_DBID" val="12b0c59e-2253-4124-a5e9-470adf4cb168"/>
  <p:tag name="MIO_LASTDOWNLOADED" val="02.03.2020 12:35:39"/>
  <p:tag name="MIO_OBJECTNAME" val="Null validation attribut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fe49e210-bffd-46cf-bbcc-0dc40c0eebfd"/>
  <p:tag name="MIO_UPDATE" val="True"/>
  <p:tag name="MIO_VERSION" val="02.03.2020 12:21:25"/>
  <p:tag name="MIO_DBID" val="12b0c59e-2253-4124-a5e9-470adf4cb168"/>
  <p:tag name="MIO_LASTDOWNLOADED" val="02.03.2020 12:35:39"/>
  <p:tag name="MIO_OBJECTNAME" val="Null validation attribute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9f69857-0719-4014-9d22-d0a400a1e464"/>
  <p:tag name="MIO_UPDATE" val="True"/>
  <p:tag name="MIO_VERSION" val="02.03.2020 12:21:25"/>
  <p:tag name="MIO_DBID" val="12b0c59e-2253-4124-a5e9-470adf4cb168"/>
  <p:tag name="MIO_LASTDOWNLOADED" val="02.03.2020 12:35:39"/>
  <p:tag name="MIO_OBJECTNAME" val="Demonstration (2)"/>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191eb77-3f62-4480-8249-4fb1e75fd5c3"/>
  <p:tag name="MIO_UPDATE" val="True"/>
  <p:tag name="MIO_VERSION" val="02.03.2020 12:21:25"/>
  <p:tag name="MIO_DBID" val="12b0c59e-2253-4124-a5e9-470adf4cb168"/>
  <p:tag name="MIO_LASTDOWNLOADED" val="02.03.2020 12:35:40"/>
  <p:tag name="MIO_OBJECTNAME" val="Questions?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14.01.2020 14:57:10"/>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1b48769-60a6-4b20-9767-f5ebd96cd21d"/>
  <p:tag name="MIO_UPDATE" val="True"/>
  <p:tag name="MIO_VERSION" val="02.03.2020 12:21:27"/>
  <p:tag name="MIO_DBID" val="12b0c59e-2253-4124-a5e9-470adf4cb168"/>
  <p:tag name="MIO_LASTDOWNLOADED" val="02.03.2020 12:35:41"/>
  <p:tag name="MIO_OBJECTNAME" val="Mastering parameters advanced function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9b69308f-b8df-4f18-94b8-f2afce289c93"/>
  <p:tag name="MIO_EKGUID" val="de1e2e54-48c5-4234-8101-28aee7611f21"/>
  <p:tag name="MIO_UPDATE" val="True"/>
  <p:tag name="MIO_VERSION" val="02.03.2020 12:21:27"/>
  <p:tag name="MIO_DBID" val="12b0c59e-2253-4124-a5e9-470adf4cb168"/>
  <p:tag name="MIO_LASTDOWNLOADED" val="02.03.2020 12:35:41"/>
  <p:tag name="MIO_OBJECTNAME" val="Slide 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4:17"/>
  <p:tag name="MIO_OBJECTNAME" val="Light Grey"/>
  <p:tag name="MIO_CDID" val="0abed30f-9490-41c0-b430-1d8e289568da"/>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8EEB0F1D-C35C-435F-96D2-8FA5AC3E6B78}"/>
</file>

<file path=customXml/itemProps3.xml><?xml version="1.0" encoding="utf-8"?>
<ds:datastoreItem xmlns:ds="http://schemas.openxmlformats.org/officeDocument/2006/customXml" ds:itemID="{CD086AF5-CCD3-41C8-B98A-2B159789D38E}">
  <ds:schemaRefs>
    <ds:schemaRef ds:uri="Strauss.PersonalizationDefinition"/>
  </ds:schemaRefs>
</ds:datastoreItem>
</file>

<file path=customXml/itemProps4.xml><?xml version="1.0" encoding="utf-8"?>
<ds:datastoreItem xmlns:ds="http://schemas.openxmlformats.org/officeDocument/2006/customXml" ds:itemID="{EBCC33FC-94BB-4B1D-A4C6-D2E6A3A4B1FD}">
  <ds:schemaRefs>
    <ds:schemaRef ds:uri="Strauss.PersonalizationDefinition"/>
  </ds:schemaRefs>
</ds:datastoreItem>
</file>

<file path=customXml/itemProps5.xml><?xml version="1.0" encoding="utf-8"?>
<ds:datastoreItem xmlns:ds="http://schemas.openxmlformats.org/officeDocument/2006/customXml" ds:itemID="{F990F116-B58F-4255-B05B-DA3808E0E5C6}">
  <ds:schemaRefs>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XX BLU Template ASD Education_XXXX_XX</Template>
  <TotalTime>34</TotalTime>
  <Words>2865</Words>
  <Application>Microsoft Office PowerPoint</Application>
  <PresentationFormat>Widescreen</PresentationFormat>
  <Paragraphs>567</Paragraphs>
  <Slides>24</Slides>
  <Notes>24</Notes>
  <HiddenSlides>1</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4</vt:i4>
      </vt:variant>
    </vt:vector>
  </HeadingPairs>
  <TitlesOfParts>
    <vt:vector size="36"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1_Light Grey</vt:lpstr>
      <vt:lpstr>Mastering parameters of advanced functions</vt:lpstr>
      <vt:lpstr>PowerPoint Presentation</vt:lpstr>
      <vt:lpstr>Topics Covered</vt:lpstr>
      <vt:lpstr>Parameter Attribute</vt:lpstr>
      <vt:lpstr>Mandatory and HelpMessage</vt:lpstr>
      <vt:lpstr>Position</vt:lpstr>
      <vt:lpstr>ParameterSetName</vt:lpstr>
      <vt:lpstr>ValueFromPipeline</vt:lpstr>
      <vt:lpstr>ValueFromPipelineByPropertyName</vt:lpstr>
      <vt:lpstr>[Alias()] Attribute</vt:lpstr>
      <vt:lpstr>[Alias()] Attribute With Pipeline</vt:lpstr>
      <vt:lpstr>Excess Positional Values</vt:lpstr>
      <vt:lpstr>ValueFromRemainingArguments</vt:lpstr>
      <vt:lpstr>Demonstration</vt:lpstr>
      <vt:lpstr>Questions?</vt:lpstr>
      <vt:lpstr>Parameter Validation Attributes</vt:lpstr>
      <vt:lpstr>ValidateSet() Attribute</vt:lpstr>
      <vt:lpstr>Numeric Validation Attributes</vt:lpstr>
      <vt:lpstr>Pattern &amp; Script Validation Attributes</vt:lpstr>
      <vt:lpstr>Null validation attributes</vt:lpstr>
      <vt:lpstr>Demonstration</vt:lpstr>
      <vt:lpstr>Questions?</vt:lpstr>
      <vt:lpstr>Mastering Parameter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subject>&lt;Speech title here&gt;</dc:subject>
  <dc:creator>mip_noreply@microsoft.com</dc:creator>
  <keywords>20230330.1</keywords>
  <dc:description>Template: Maryfj_x000d_
Formatting: _x000d_
Audience Type:</dc:description>
  <lastModifiedBy>mip_noreply@microsoft.com</lastModifiedBy>
  <revision>1</revision>
  <dcterms:created xsi:type="dcterms:W3CDTF">2017-11-27T13:06:33.0000000Z</dcterms:created>
  <dcterms:modified xsi:type="dcterms:W3CDTF">2022-06-28T16:09:30.0000000Z</dcterms:modified>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1AFFBB813ED9B340817B8218D8AE0A88</vt:lpwstr>
  </op:property>
  <op:property fmtid="{D5CDD505-2E9C-101B-9397-08002B2CF9AE}" pid="3" name="Product">
    <vt:lpwstr/>
  </op:property>
  <op:property fmtid="{D5CDD505-2E9C-101B-9397-08002B2CF9AE}" pid="4" name="Event1">
    <vt:lpwstr>622;#Unassigned|2c8af875-f38a-40b8-a0a9-056aed3fc8c0</vt:lpwstr>
  </op:property>
  <op:property fmtid="{D5CDD505-2E9C-101B-9397-08002B2CF9AE}" pid="5" name="Audience">
    <vt:lpwstr/>
  </op:property>
  <op:property fmtid="{D5CDD505-2E9C-101B-9397-08002B2CF9AE}" pid="6" name="Event Venue">
    <vt:lpwstr/>
  </op:property>
  <op:property fmtid="{D5CDD505-2E9C-101B-9397-08002B2CF9AE}" pid="7" name="Track">
    <vt:lpwstr/>
  </op:property>
  <op:property fmtid="{D5CDD505-2E9C-101B-9397-08002B2CF9AE}" pid="8" name="Event Location">
    <vt:lpwstr/>
  </op:property>
  <op:property fmtid="{D5CDD505-2E9C-101B-9397-08002B2CF9AE}" pid="9" name="Campaign">
    <vt:lpwstr/>
  </op:property>
  <op:property fmtid="{D5CDD505-2E9C-101B-9397-08002B2CF9AE}" pid="10" name="IsMyDocuments">
    <vt:bool>true</vt:bool>
  </op:property>
  <op:property fmtid="{D5CDD505-2E9C-101B-9397-08002B2CF9AE}" pid="11" name="_dlc_DocIdItemGuid">
    <vt:lpwstr>45abd974-9be7-43c9-a6f6-92b6c2f92002</vt:lpwstr>
  </op:property>
  <op:property fmtid="{D5CDD505-2E9C-101B-9397-08002B2CF9AE}" pid="12" name="MSIP_Label_f42aa342-8706-4288-bd11-ebb85995028c_Enabled">
    <vt:lpwstr>True</vt:lpwstr>
  </op:property>
  <op:property fmtid="{D5CDD505-2E9C-101B-9397-08002B2CF9AE}" pid="13" name="MSIP_Label_f42aa342-8706-4288-bd11-ebb85995028c_SiteId">
    <vt:lpwstr>72f988bf-86f1-41af-91ab-2d7cd011db47</vt:lpwstr>
  </op:property>
  <op:property fmtid="{D5CDD505-2E9C-101B-9397-08002B2CF9AE}" pid="14" name="MSIP_Label_f42aa342-8706-4288-bd11-ebb85995028c_Owner">
    <vt:lpwstr/>
  </op:property>
  <op:property fmtid="{D5CDD505-2E9C-101B-9397-08002B2CF9AE}" pid="15" name="MSIP_Label_f42aa342-8706-4288-bd11-ebb85995028c_SetDate">
    <vt:lpwstr>2017-11-27T13:06:48.6622444Z</vt:lpwstr>
  </op:property>
  <op:property fmtid="{D5CDD505-2E9C-101B-9397-08002B2CF9AE}" pid="16" name="MSIP_Label_f42aa342-8706-4288-bd11-ebb85995028c_Name">
    <vt:lpwstr>General</vt:lpwstr>
  </op:property>
  <op:property fmtid="{D5CDD505-2E9C-101B-9397-08002B2CF9AE}" pid="17" name="MSIP_Label_f42aa342-8706-4288-bd11-ebb85995028c_Application">
    <vt:lpwstr>Microsoft Azure Information Protection</vt:lpwstr>
  </op:property>
  <op:property fmtid="{D5CDD505-2E9C-101B-9397-08002B2CF9AE}" pid="18" name="MSIP_Label_f42aa342-8706-4288-bd11-ebb85995028c_Extended_MSFT_Method">
    <vt:lpwstr>Automatic</vt:lpwstr>
  </op:property>
  <op:property fmtid="{D5CDD505-2E9C-101B-9397-08002B2CF9AE}" pid="19" name="Sensitivity">
    <vt:lpwstr>General</vt:lpwstr>
  </op:property>
  <op:property fmtid="{D5CDD505-2E9C-101B-9397-08002B2CF9AE}" pid="20" name="MediaServiceImageTags">
    <vt:lpwstr/>
  </op:property>
</op:Properties>
</file>